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4" r:id="rId4"/>
  </p:sldMasterIdLst>
  <p:notesMasterIdLst>
    <p:notesMasterId r:id="rId17"/>
  </p:notesMasterIdLst>
  <p:handoutMasterIdLst>
    <p:handoutMasterId r:id="rId18"/>
  </p:handoutMasterIdLst>
  <p:sldIdLst>
    <p:sldId id="1051" r:id="rId5"/>
    <p:sldId id="1076" r:id="rId6"/>
    <p:sldId id="1074" r:id="rId7"/>
    <p:sldId id="1055" r:id="rId8"/>
    <p:sldId id="1078" r:id="rId9"/>
    <p:sldId id="1062" r:id="rId10"/>
    <p:sldId id="492" r:id="rId11"/>
    <p:sldId id="1079" r:id="rId12"/>
    <p:sldId id="1063" r:id="rId13"/>
    <p:sldId id="1064" r:id="rId14"/>
    <p:sldId id="1075" r:id="rId15"/>
    <p:sldId id="1065" r:id="rId16"/>
  </p:sldIdLst>
  <p:sldSz cx="9144000" cy="5143500" type="screen16x9"/>
  <p:notesSz cx="6797675" cy="9926638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87B478A2-DC77-4A8D-B652-0E5A3FCDA4E2}">
          <p14:sldIdLst>
            <p14:sldId id="1051"/>
            <p14:sldId id="1076"/>
            <p14:sldId id="1074"/>
            <p14:sldId id="1055"/>
            <p14:sldId id="1078"/>
            <p14:sldId id="1062"/>
            <p14:sldId id="492"/>
            <p14:sldId id="1079"/>
            <p14:sldId id="1063"/>
            <p14:sldId id="1064"/>
            <p14:sldId id="1075"/>
            <p14:sldId id="106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577" userDrawn="1">
          <p15:clr>
            <a:srgbClr val="A4A3A4"/>
          </p15:clr>
        </p15:guide>
        <p15:guide id="2" pos="136" userDrawn="1">
          <p15:clr>
            <a:srgbClr val="A4A3A4"/>
          </p15:clr>
        </p15:guide>
        <p15:guide id="3" orient="horz" pos="7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C96C2"/>
    <a:srgbClr val="FFD400"/>
    <a:srgbClr val="478FBA"/>
    <a:srgbClr val="55A6D3"/>
    <a:srgbClr val="53A1CE"/>
    <a:srgbClr val="49A2B8"/>
    <a:srgbClr val="4DA8BE"/>
    <a:srgbClr val="EDD600"/>
    <a:srgbClr val="E7C9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2D663E6-3E69-48D7-8A0D-5497113D12E1}" v="29" dt="2020-11-02T12:53:26.4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07" autoAdjust="0"/>
    <p:restoredTop sz="75377" autoAdjust="0"/>
  </p:normalViewPr>
  <p:slideViewPr>
    <p:cSldViewPr snapToGrid="0" snapToObjects="1">
      <p:cViewPr varScale="1">
        <p:scale>
          <a:sx n="94" d="100"/>
          <a:sy n="94" d="100"/>
        </p:scale>
        <p:origin x="1349" y="62"/>
      </p:cViewPr>
      <p:guideLst>
        <p:guide orient="horz" pos="577"/>
        <p:guide pos="136"/>
        <p:guide orient="horz" pos="7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92"/>
    </p:cViewPr>
  </p:sorterViewPr>
  <p:notesViewPr>
    <p:cSldViewPr snapToGrid="0" snapToObjects="1">
      <p:cViewPr varScale="1">
        <p:scale>
          <a:sx n="172" d="100"/>
          <a:sy n="172" d="100"/>
        </p:scale>
        <p:origin x="5344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 Saunders - UKRI INNOVATEUK" userId="2620bb47-c9fd-471f-b645-e2e74e7b076e" providerId="ADAL" clId="{D2D663E6-3E69-48D7-8A0D-5497113D12E1}"/>
    <pc:docChg chg="undo redo custSel addSld delSld modSld delMainMaster modSection">
      <pc:chgData name="Rob Saunders - UKRI INNOVATEUK" userId="2620bb47-c9fd-471f-b645-e2e74e7b076e" providerId="ADAL" clId="{D2D663E6-3E69-48D7-8A0D-5497113D12E1}" dt="2020-11-02T12:55:47.112" v="1032" actId="1036"/>
      <pc:docMkLst>
        <pc:docMk/>
      </pc:docMkLst>
      <pc:sldChg chg="del">
        <pc:chgData name="Rob Saunders - UKRI INNOVATEUK" userId="2620bb47-c9fd-471f-b645-e2e74e7b076e" providerId="ADAL" clId="{D2D663E6-3E69-48D7-8A0D-5497113D12E1}" dt="2020-10-23T10:42:02.717" v="13" actId="47"/>
        <pc:sldMkLst>
          <pc:docMk/>
          <pc:sldMk cId="281588092" sldId="260"/>
        </pc:sldMkLst>
      </pc:sldChg>
      <pc:sldChg chg="addSp delSp modSp add del mod modClrScheme chgLayout">
        <pc:chgData name="Rob Saunders - UKRI INNOVATEUK" userId="2620bb47-c9fd-471f-b645-e2e74e7b076e" providerId="ADAL" clId="{D2D663E6-3E69-48D7-8A0D-5497113D12E1}" dt="2020-11-02T12:28:43.618" v="451" actId="167"/>
        <pc:sldMkLst>
          <pc:docMk/>
          <pc:sldMk cId="3556805350" sldId="492"/>
        </pc:sldMkLst>
        <pc:spChg chg="del mod">
          <ac:chgData name="Rob Saunders - UKRI INNOVATEUK" userId="2620bb47-c9fd-471f-b645-e2e74e7b076e" providerId="ADAL" clId="{D2D663E6-3E69-48D7-8A0D-5497113D12E1}" dt="2020-11-02T12:14:16.596" v="140" actId="478"/>
          <ac:spMkLst>
            <pc:docMk/>
            <pc:sldMk cId="3556805350" sldId="492"/>
            <ac:spMk id="5" creationId="{3BFD9EEE-158A-4304-AC05-6298E66F7D9F}"/>
          </ac:spMkLst>
        </pc:spChg>
        <pc:spChg chg="add mod ord">
          <ac:chgData name="Rob Saunders - UKRI INNOVATEUK" userId="2620bb47-c9fd-471f-b645-e2e74e7b076e" providerId="ADAL" clId="{D2D663E6-3E69-48D7-8A0D-5497113D12E1}" dt="2020-11-02T12:25:35.315" v="412" actId="1076"/>
          <ac:spMkLst>
            <pc:docMk/>
            <pc:sldMk cId="3556805350" sldId="492"/>
            <ac:spMk id="6" creationId="{86409C31-B244-4974-876F-7A1E3CCA50CA}"/>
          </ac:spMkLst>
        </pc:spChg>
        <pc:spChg chg="del mod ord">
          <ac:chgData name="Rob Saunders - UKRI INNOVATEUK" userId="2620bb47-c9fd-471f-b645-e2e74e7b076e" providerId="ADAL" clId="{D2D663E6-3E69-48D7-8A0D-5497113D12E1}" dt="2020-11-02T12:25:03.444" v="359" actId="700"/>
          <ac:spMkLst>
            <pc:docMk/>
            <pc:sldMk cId="3556805350" sldId="492"/>
            <ac:spMk id="7" creationId="{5A2A75C1-8112-4659-A4B6-68FD6C54FF9F}"/>
          </ac:spMkLst>
        </pc:spChg>
        <pc:spChg chg="del mod ord">
          <ac:chgData name="Rob Saunders - UKRI INNOVATEUK" userId="2620bb47-c9fd-471f-b645-e2e74e7b076e" providerId="ADAL" clId="{D2D663E6-3E69-48D7-8A0D-5497113D12E1}" dt="2020-11-02T12:25:55.638" v="413" actId="478"/>
          <ac:spMkLst>
            <pc:docMk/>
            <pc:sldMk cId="3556805350" sldId="492"/>
            <ac:spMk id="8" creationId="{4749CDEF-6E5E-446F-9605-A4D60F974D41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9" creationId="{C09FB1CE-A3A9-4D23-8268-C08745FC8B4D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11" creationId="{F2DF8F79-43FD-47AF-87BB-CB39C6D8FBB3}"/>
          </ac:spMkLst>
        </pc:spChg>
        <pc:spChg chg="mod">
          <ac:chgData name="Rob Saunders - UKRI INNOVATEUK" userId="2620bb47-c9fd-471f-b645-e2e74e7b076e" providerId="ADAL" clId="{D2D663E6-3E69-48D7-8A0D-5497113D12E1}" dt="2020-11-02T12:26:15.834" v="437" actId="20577"/>
          <ac:spMkLst>
            <pc:docMk/>
            <pc:sldMk cId="3556805350" sldId="492"/>
            <ac:spMk id="12" creationId="{023AAA52-B54A-447D-937F-76610F2C2D1E}"/>
          </ac:spMkLst>
        </pc:spChg>
        <pc:spChg chg="add del mod">
          <ac:chgData name="Rob Saunders - UKRI INNOVATEUK" userId="2620bb47-c9fd-471f-b645-e2e74e7b076e" providerId="ADAL" clId="{D2D663E6-3E69-48D7-8A0D-5497113D12E1}" dt="2020-11-02T12:25:59.714" v="414" actId="478"/>
          <ac:spMkLst>
            <pc:docMk/>
            <pc:sldMk cId="3556805350" sldId="492"/>
            <ac:spMk id="13" creationId="{0401B030-D281-4360-B1C1-9093BADBCEB4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14" creationId="{665B71CA-0499-4A4E-98C6-E1229F56A026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16" creationId="{52705EC5-906A-470D-9804-0508EE8A5457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23" creationId="{A4360359-9561-4DEB-94E9-9385991F4756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27" creationId="{8F404181-9AF8-496E-89D4-D49CF94FAE33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28" creationId="{E1916461-302F-4277-B9B5-351D286A1C07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29" creationId="{6FF7450D-513F-4E4C-8BE4-11B9DDE8CD65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34" creationId="{ABE42249-63CA-441A-BDBD-9084862B2A8E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35" creationId="{20FEC7B8-E639-4B8C-9549-0C1BE3A95829}"/>
          </ac:spMkLst>
        </pc:spChg>
        <pc:spChg chg="add del">
          <ac:chgData name="Rob Saunders - UKRI INNOVATEUK" userId="2620bb47-c9fd-471f-b645-e2e74e7b076e" providerId="ADAL" clId="{D2D663E6-3E69-48D7-8A0D-5497113D12E1}" dt="2020-11-02T12:24:54.806" v="358" actId="22"/>
          <ac:spMkLst>
            <pc:docMk/>
            <pc:sldMk cId="3556805350" sldId="492"/>
            <ac:spMk id="44" creationId="{A7E48D29-0BE4-49B7-9BAE-892B3307B4E6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48" creationId="{7F224F51-1052-4A1A-A573-4174F13AB4A1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54" creationId="{B6BFEEE5-1F42-497B-9A53-07723B911DE9}"/>
          </ac:spMkLst>
        </pc:spChg>
        <pc:spChg chg="del mod">
          <ac:chgData name="Rob Saunders - UKRI INNOVATEUK" userId="2620bb47-c9fd-471f-b645-e2e74e7b076e" providerId="ADAL" clId="{D2D663E6-3E69-48D7-8A0D-5497113D12E1}" dt="2020-11-02T12:28:03.322" v="444" actId="478"/>
          <ac:spMkLst>
            <pc:docMk/>
            <pc:sldMk cId="3556805350" sldId="492"/>
            <ac:spMk id="55" creationId="{BB8BDA7F-35B0-43CA-A3B7-49781EC3AA2D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56" creationId="{D6DF0F7E-840E-4E84-96C1-A95B4E1E24CF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63" creationId="{AF69A121-B793-418B-A1C1-1D67D4CEDB30}"/>
          </ac:spMkLst>
        </pc:spChg>
        <pc:spChg chg="mod">
          <ac:chgData name="Rob Saunders - UKRI INNOVATEUK" userId="2620bb47-c9fd-471f-b645-e2e74e7b076e" providerId="ADAL" clId="{D2D663E6-3E69-48D7-8A0D-5497113D12E1}" dt="2020-11-02T12:28:06.434" v="445" actId="1076"/>
          <ac:spMkLst>
            <pc:docMk/>
            <pc:sldMk cId="3556805350" sldId="492"/>
            <ac:spMk id="66" creationId="{944DC037-6192-4161-AA9D-593A27C26502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68" creationId="{149C4F55-FB1D-45F5-B6FE-9A1825FB32DA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69" creationId="{7E7D9CD3-4307-4437-AA18-C1F2A6CF8524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70" creationId="{CBFF868F-98B4-417F-A56E-D6253A114733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71" creationId="{7D4E4BBA-AF9B-48D1-B9AF-BA58ADA89848}"/>
          </ac:spMkLst>
        </pc:spChg>
        <pc:spChg chg="mod">
          <ac:chgData name="Rob Saunders - UKRI INNOVATEUK" userId="2620bb47-c9fd-471f-b645-e2e74e7b076e" providerId="ADAL" clId="{D2D663E6-3E69-48D7-8A0D-5497113D12E1}" dt="2020-11-02T12:23:37.979" v="312" actId="1035"/>
          <ac:spMkLst>
            <pc:docMk/>
            <pc:sldMk cId="3556805350" sldId="492"/>
            <ac:spMk id="72" creationId="{518061BD-B1E7-4450-A21B-8EC48BE4960A}"/>
          </ac:spMkLst>
        </pc:spChg>
        <pc:grpChg chg="mod">
          <ac:chgData name="Rob Saunders - UKRI INNOVATEUK" userId="2620bb47-c9fd-471f-b645-e2e74e7b076e" providerId="ADAL" clId="{D2D663E6-3E69-48D7-8A0D-5497113D12E1}" dt="2020-11-02T12:23:37.979" v="312" actId="1035"/>
          <ac:grpSpMkLst>
            <pc:docMk/>
            <pc:sldMk cId="3556805350" sldId="492"/>
            <ac:grpSpMk id="24" creationId="{96B1C745-F92D-4900-9CA5-5F3254846FDC}"/>
          </ac:grpSpMkLst>
        </pc:grpChg>
        <pc:grpChg chg="mod">
          <ac:chgData name="Rob Saunders - UKRI INNOVATEUK" userId="2620bb47-c9fd-471f-b645-e2e74e7b076e" providerId="ADAL" clId="{D2D663E6-3E69-48D7-8A0D-5497113D12E1}" dt="2020-11-02T12:23:37.979" v="312" actId="1035"/>
          <ac:grpSpMkLst>
            <pc:docMk/>
            <pc:sldMk cId="3556805350" sldId="492"/>
            <ac:grpSpMk id="46" creationId="{42508423-9DE7-4674-96E0-20517AADE076}"/>
          </ac:grpSpMkLst>
        </pc:grpChg>
        <pc:picChg chg="add mod ord">
          <ac:chgData name="Rob Saunders - UKRI INNOVATEUK" userId="2620bb47-c9fd-471f-b645-e2e74e7b076e" providerId="ADAL" clId="{D2D663E6-3E69-48D7-8A0D-5497113D12E1}" dt="2020-11-02T12:28:43.618" v="451" actId="167"/>
          <ac:picMkLst>
            <pc:docMk/>
            <pc:sldMk cId="3556805350" sldId="492"/>
            <ac:picMk id="3" creationId="{5F2CBEB8-0F51-4C94-940D-1F25EFEB04E7}"/>
          </ac:picMkLst>
        </pc:picChg>
        <pc:picChg chg="mod">
          <ac:chgData name="Rob Saunders - UKRI INNOVATEUK" userId="2620bb47-c9fd-471f-b645-e2e74e7b076e" providerId="ADAL" clId="{D2D663E6-3E69-48D7-8A0D-5497113D12E1}" dt="2020-11-02T12:23:37.979" v="312" actId="1035"/>
          <ac:picMkLst>
            <pc:docMk/>
            <pc:sldMk cId="3556805350" sldId="492"/>
            <ac:picMk id="15" creationId="{53552B13-DEC7-43E9-BE82-32DB2A1F5369}"/>
          </ac:picMkLst>
        </pc:picChg>
        <pc:picChg chg="add mod">
          <ac:chgData name="Rob Saunders - UKRI INNOVATEUK" userId="2620bb47-c9fd-471f-b645-e2e74e7b076e" providerId="ADAL" clId="{D2D663E6-3E69-48D7-8A0D-5497113D12E1}" dt="2020-11-02T12:28:23.202" v="449" actId="1076"/>
          <ac:picMkLst>
            <pc:docMk/>
            <pc:sldMk cId="3556805350" sldId="492"/>
            <ac:picMk id="18" creationId="{5BAAA955-4C5C-4EDB-BB10-4EBDD6934BBC}"/>
          </ac:picMkLst>
        </pc:picChg>
        <pc:picChg chg="mod">
          <ac:chgData name="Rob Saunders - UKRI INNOVATEUK" userId="2620bb47-c9fd-471f-b645-e2e74e7b076e" providerId="ADAL" clId="{D2D663E6-3E69-48D7-8A0D-5497113D12E1}" dt="2020-11-02T12:23:37.979" v="312" actId="1035"/>
          <ac:picMkLst>
            <pc:docMk/>
            <pc:sldMk cId="3556805350" sldId="492"/>
            <ac:picMk id="33" creationId="{F24CE1C2-648E-42E6-8F00-EA765EA03839}"/>
          </ac:picMkLst>
        </pc:picChg>
        <pc:picChg chg="mod">
          <ac:chgData name="Rob Saunders - UKRI INNOVATEUK" userId="2620bb47-c9fd-471f-b645-e2e74e7b076e" providerId="ADAL" clId="{D2D663E6-3E69-48D7-8A0D-5497113D12E1}" dt="2020-11-02T12:23:37.979" v="312" actId="1035"/>
          <ac:picMkLst>
            <pc:docMk/>
            <pc:sldMk cId="3556805350" sldId="492"/>
            <ac:picMk id="47" creationId="{384FAD94-7A0C-472A-9051-47C9D554C6E0}"/>
          </ac:picMkLst>
        </pc:picChg>
        <pc:picChg chg="mod">
          <ac:chgData name="Rob Saunders - UKRI INNOVATEUK" userId="2620bb47-c9fd-471f-b645-e2e74e7b076e" providerId="ADAL" clId="{D2D663E6-3E69-48D7-8A0D-5497113D12E1}" dt="2020-11-02T12:23:37.979" v="312" actId="1035"/>
          <ac:picMkLst>
            <pc:docMk/>
            <pc:sldMk cId="3556805350" sldId="492"/>
            <ac:picMk id="11270" creationId="{7AF4C963-63A9-4F59-AC42-BB867E23DD9C}"/>
          </ac:picMkLst>
        </pc:picChg>
        <pc:picChg chg="mod">
          <ac:chgData name="Rob Saunders - UKRI INNOVATEUK" userId="2620bb47-c9fd-471f-b645-e2e74e7b076e" providerId="ADAL" clId="{D2D663E6-3E69-48D7-8A0D-5497113D12E1}" dt="2020-11-02T12:26:46.339" v="440" actId="1076"/>
          <ac:picMkLst>
            <pc:docMk/>
            <pc:sldMk cId="3556805350" sldId="492"/>
            <ac:picMk id="11272" creationId="{8C0348A9-1F62-45A0-A4F2-6A44233C0F4F}"/>
          </ac:picMkLst>
        </pc:picChg>
        <pc:picChg chg="mod">
          <ac:chgData name="Rob Saunders - UKRI INNOVATEUK" userId="2620bb47-c9fd-471f-b645-e2e74e7b076e" providerId="ADAL" clId="{D2D663E6-3E69-48D7-8A0D-5497113D12E1}" dt="2020-11-02T12:23:37.979" v="312" actId="1035"/>
          <ac:picMkLst>
            <pc:docMk/>
            <pc:sldMk cId="3556805350" sldId="492"/>
            <ac:picMk id="11274" creationId="{02942D03-286E-42FB-9959-0DA4B48E557B}"/>
          </ac:picMkLst>
        </pc:picChg>
        <pc:picChg chg="mod">
          <ac:chgData name="Rob Saunders - UKRI INNOVATEUK" userId="2620bb47-c9fd-471f-b645-e2e74e7b076e" providerId="ADAL" clId="{D2D663E6-3E69-48D7-8A0D-5497113D12E1}" dt="2020-11-02T12:23:37.979" v="312" actId="1035"/>
          <ac:picMkLst>
            <pc:docMk/>
            <pc:sldMk cId="3556805350" sldId="492"/>
            <ac:picMk id="11276" creationId="{54793899-6254-4111-A227-3ED35860E42A}"/>
          </ac:picMkLst>
        </pc:picChg>
        <pc:picChg chg="mod">
          <ac:chgData name="Rob Saunders - UKRI INNOVATEUK" userId="2620bb47-c9fd-471f-b645-e2e74e7b076e" providerId="ADAL" clId="{D2D663E6-3E69-48D7-8A0D-5497113D12E1}" dt="2020-11-02T12:23:37.979" v="312" actId="1035"/>
          <ac:picMkLst>
            <pc:docMk/>
            <pc:sldMk cId="3556805350" sldId="492"/>
            <ac:picMk id="11278" creationId="{EE45B16B-5F00-45BB-9CF8-CFE90E10F289}"/>
          </ac:picMkLst>
        </pc:picChg>
        <pc:picChg chg="mod">
          <ac:chgData name="Rob Saunders - UKRI INNOVATEUK" userId="2620bb47-c9fd-471f-b645-e2e74e7b076e" providerId="ADAL" clId="{D2D663E6-3E69-48D7-8A0D-5497113D12E1}" dt="2020-11-02T12:23:37.979" v="312" actId="1035"/>
          <ac:picMkLst>
            <pc:docMk/>
            <pc:sldMk cId="3556805350" sldId="492"/>
            <ac:picMk id="11280" creationId="{F1F533EE-1BC1-4FE5-9D6B-E143429B02E3}"/>
          </ac:picMkLst>
        </pc:picChg>
        <pc:picChg chg="mod">
          <ac:chgData name="Rob Saunders - UKRI INNOVATEUK" userId="2620bb47-c9fd-471f-b645-e2e74e7b076e" providerId="ADAL" clId="{D2D663E6-3E69-48D7-8A0D-5497113D12E1}" dt="2020-11-02T12:23:37.979" v="312" actId="1035"/>
          <ac:picMkLst>
            <pc:docMk/>
            <pc:sldMk cId="3556805350" sldId="492"/>
            <ac:picMk id="11286" creationId="{8577D62E-D37A-4E43-B132-F8CA0A0D51D8}"/>
          </ac:picMkLst>
        </pc:picChg>
        <pc:picChg chg="mod">
          <ac:chgData name="Rob Saunders - UKRI INNOVATEUK" userId="2620bb47-c9fd-471f-b645-e2e74e7b076e" providerId="ADAL" clId="{D2D663E6-3E69-48D7-8A0D-5497113D12E1}" dt="2020-11-02T12:23:37.979" v="312" actId="1035"/>
          <ac:picMkLst>
            <pc:docMk/>
            <pc:sldMk cId="3556805350" sldId="492"/>
            <ac:picMk id="11298" creationId="{9D5362D2-EFE6-4356-B444-99D6C8DC4B7B}"/>
          </ac:picMkLst>
        </pc:picChg>
        <pc:picChg chg="mod">
          <ac:chgData name="Rob Saunders - UKRI INNOVATEUK" userId="2620bb47-c9fd-471f-b645-e2e74e7b076e" providerId="ADAL" clId="{D2D663E6-3E69-48D7-8A0D-5497113D12E1}" dt="2020-11-02T12:23:37.979" v="312" actId="1035"/>
          <ac:picMkLst>
            <pc:docMk/>
            <pc:sldMk cId="3556805350" sldId="492"/>
            <ac:picMk id="11300" creationId="{DC849D41-1048-4B60-8AEF-8CC9C1E053A2}"/>
          </ac:picMkLst>
        </pc:picChg>
      </pc:sldChg>
      <pc:sldChg chg="modSp mod">
        <pc:chgData name="Rob Saunders - UKRI INNOVATEUK" userId="2620bb47-c9fd-471f-b645-e2e74e7b076e" providerId="ADAL" clId="{D2D663E6-3E69-48D7-8A0D-5497113D12E1}" dt="2020-10-23T10:41:37.614" v="11" actId="20577"/>
        <pc:sldMkLst>
          <pc:docMk/>
          <pc:sldMk cId="355914206" sldId="1051"/>
        </pc:sldMkLst>
        <pc:spChg chg="mod">
          <ac:chgData name="Rob Saunders - UKRI INNOVATEUK" userId="2620bb47-c9fd-471f-b645-e2e74e7b076e" providerId="ADAL" clId="{D2D663E6-3E69-48D7-8A0D-5497113D12E1}" dt="2020-10-23T10:41:37.614" v="11" actId="20577"/>
          <ac:spMkLst>
            <pc:docMk/>
            <pc:sldMk cId="355914206" sldId="1051"/>
            <ac:spMk id="3" creationId="{00000000-0000-0000-0000-000000000000}"/>
          </ac:spMkLst>
        </pc:spChg>
      </pc:sldChg>
      <pc:sldChg chg="del">
        <pc:chgData name="Rob Saunders - UKRI INNOVATEUK" userId="2620bb47-c9fd-471f-b645-e2e74e7b076e" providerId="ADAL" clId="{D2D663E6-3E69-48D7-8A0D-5497113D12E1}" dt="2020-10-23T10:41:07.563" v="1" actId="47"/>
        <pc:sldMkLst>
          <pc:docMk/>
          <pc:sldMk cId="2574380523" sldId="1056"/>
        </pc:sldMkLst>
      </pc:sldChg>
      <pc:sldChg chg="del">
        <pc:chgData name="Rob Saunders - UKRI INNOVATEUK" userId="2620bb47-c9fd-471f-b645-e2e74e7b076e" providerId="ADAL" clId="{D2D663E6-3E69-48D7-8A0D-5497113D12E1}" dt="2020-10-23T10:41:11.452" v="2" actId="47"/>
        <pc:sldMkLst>
          <pc:docMk/>
          <pc:sldMk cId="1671502696" sldId="1057"/>
        </pc:sldMkLst>
      </pc:sldChg>
      <pc:sldChg chg="del">
        <pc:chgData name="Rob Saunders - UKRI INNOVATEUK" userId="2620bb47-c9fd-471f-b645-e2e74e7b076e" providerId="ADAL" clId="{D2D663E6-3E69-48D7-8A0D-5497113D12E1}" dt="2020-10-23T10:41:18.169" v="3" actId="47"/>
        <pc:sldMkLst>
          <pc:docMk/>
          <pc:sldMk cId="2312652537" sldId="1059"/>
        </pc:sldMkLst>
      </pc:sldChg>
      <pc:sldChg chg="del">
        <pc:chgData name="Rob Saunders - UKRI INNOVATEUK" userId="2620bb47-c9fd-471f-b645-e2e74e7b076e" providerId="ADAL" clId="{D2D663E6-3E69-48D7-8A0D-5497113D12E1}" dt="2020-10-23T10:42:00.397" v="12" actId="47"/>
        <pc:sldMkLst>
          <pc:docMk/>
          <pc:sldMk cId="215374033" sldId="1066"/>
        </pc:sldMkLst>
      </pc:sldChg>
      <pc:sldChg chg="del">
        <pc:chgData name="Rob Saunders - UKRI INNOVATEUK" userId="2620bb47-c9fd-471f-b645-e2e74e7b076e" providerId="ADAL" clId="{D2D663E6-3E69-48D7-8A0D-5497113D12E1}" dt="2020-10-23T10:41:20.051" v="4" actId="47"/>
        <pc:sldMkLst>
          <pc:docMk/>
          <pc:sldMk cId="517432775" sldId="1072"/>
        </pc:sldMkLst>
      </pc:sldChg>
      <pc:sldChg chg="del">
        <pc:chgData name="Rob Saunders - UKRI INNOVATEUK" userId="2620bb47-c9fd-471f-b645-e2e74e7b076e" providerId="ADAL" clId="{D2D663E6-3E69-48D7-8A0D-5497113D12E1}" dt="2020-10-23T10:41:21.736" v="5" actId="47"/>
        <pc:sldMkLst>
          <pc:docMk/>
          <pc:sldMk cId="4119061233" sldId="1073"/>
        </pc:sldMkLst>
      </pc:sldChg>
      <pc:sldChg chg="del">
        <pc:chgData name="Rob Saunders - UKRI INNOVATEUK" userId="2620bb47-c9fd-471f-b645-e2e74e7b076e" providerId="ADAL" clId="{D2D663E6-3E69-48D7-8A0D-5497113D12E1}" dt="2020-11-02T09:59:14.390" v="14" actId="2696"/>
        <pc:sldMkLst>
          <pc:docMk/>
          <pc:sldMk cId="388699555" sldId="1077"/>
        </pc:sldMkLst>
      </pc:sldChg>
      <pc:sldChg chg="add">
        <pc:chgData name="Rob Saunders - UKRI INNOVATEUK" userId="2620bb47-c9fd-471f-b645-e2e74e7b076e" providerId="ADAL" clId="{D2D663E6-3E69-48D7-8A0D-5497113D12E1}" dt="2020-10-23T10:41:00.223" v="0" actId="22"/>
        <pc:sldMkLst>
          <pc:docMk/>
          <pc:sldMk cId="4178973288" sldId="1078"/>
        </pc:sldMkLst>
      </pc:sldChg>
      <pc:sldChg chg="addSp delSp modSp new mod">
        <pc:chgData name="Rob Saunders - UKRI INNOVATEUK" userId="2620bb47-c9fd-471f-b645-e2e74e7b076e" providerId="ADAL" clId="{D2D663E6-3E69-48D7-8A0D-5497113D12E1}" dt="2020-11-02T12:55:47.112" v="1032" actId="1036"/>
        <pc:sldMkLst>
          <pc:docMk/>
          <pc:sldMk cId="346373473" sldId="1079"/>
        </pc:sldMkLst>
        <pc:spChg chg="del">
          <ac:chgData name="Rob Saunders - UKRI INNOVATEUK" userId="2620bb47-c9fd-471f-b645-e2e74e7b076e" providerId="ADAL" clId="{D2D663E6-3E69-48D7-8A0D-5497113D12E1}" dt="2020-11-02T12:32:25.370" v="458" actId="478"/>
          <ac:spMkLst>
            <pc:docMk/>
            <pc:sldMk cId="346373473" sldId="1079"/>
            <ac:spMk id="2" creationId="{2E7FF946-FF54-4455-B311-EDA68C450020}"/>
          </ac:spMkLst>
        </pc:spChg>
        <pc:spChg chg="del">
          <ac:chgData name="Rob Saunders - UKRI INNOVATEUK" userId="2620bb47-c9fd-471f-b645-e2e74e7b076e" providerId="ADAL" clId="{D2D663E6-3E69-48D7-8A0D-5497113D12E1}" dt="2020-11-02T12:31:51.034" v="452" actId="478"/>
          <ac:spMkLst>
            <pc:docMk/>
            <pc:sldMk cId="346373473" sldId="1079"/>
            <ac:spMk id="3" creationId="{AA74C8E4-107C-4886-9BEB-01DAAA184B63}"/>
          </ac:spMkLst>
        </pc:spChg>
        <pc:spChg chg="add mod">
          <ac:chgData name="Rob Saunders - UKRI INNOVATEUK" userId="2620bb47-c9fd-471f-b645-e2e74e7b076e" providerId="ADAL" clId="{D2D663E6-3E69-48D7-8A0D-5497113D12E1}" dt="2020-11-02T12:32:29.490" v="459" actId="1076"/>
          <ac:spMkLst>
            <pc:docMk/>
            <pc:sldMk cId="346373473" sldId="1079"/>
            <ac:spMk id="7" creationId="{E28F78F7-25FE-43CF-9851-2332F33F4CFD}"/>
          </ac:spMkLst>
        </pc:spChg>
        <pc:spChg chg="add mod">
          <ac:chgData name="Rob Saunders - UKRI INNOVATEUK" userId="2620bb47-c9fd-471f-b645-e2e74e7b076e" providerId="ADAL" clId="{D2D663E6-3E69-48D7-8A0D-5497113D12E1}" dt="2020-11-02T12:53:13.424" v="705" actId="14100"/>
          <ac:spMkLst>
            <pc:docMk/>
            <pc:sldMk cId="346373473" sldId="1079"/>
            <ac:spMk id="14" creationId="{26DEBF8A-41CE-4394-B1D1-FAE232232545}"/>
          </ac:spMkLst>
        </pc:spChg>
        <pc:spChg chg="add mod">
          <ac:chgData name="Rob Saunders - UKRI INNOVATEUK" userId="2620bb47-c9fd-471f-b645-e2e74e7b076e" providerId="ADAL" clId="{D2D663E6-3E69-48D7-8A0D-5497113D12E1}" dt="2020-11-02T12:55:37.457" v="1007" actId="20577"/>
          <ac:spMkLst>
            <pc:docMk/>
            <pc:sldMk cId="346373473" sldId="1079"/>
            <ac:spMk id="15" creationId="{AC212E8B-31DA-4259-86A7-6556B6DFAD3A}"/>
          </ac:spMkLst>
        </pc:spChg>
        <pc:picChg chg="add mod">
          <ac:chgData name="Rob Saunders - UKRI INNOVATEUK" userId="2620bb47-c9fd-471f-b645-e2e74e7b076e" providerId="ADAL" clId="{D2D663E6-3E69-48D7-8A0D-5497113D12E1}" dt="2020-11-02T12:32:00.074" v="455" actId="1076"/>
          <ac:picMkLst>
            <pc:docMk/>
            <pc:sldMk cId="346373473" sldId="1079"/>
            <ac:picMk id="6" creationId="{F0640F2E-CCAB-40C9-AA69-7FB7244C77C8}"/>
          </ac:picMkLst>
        </pc:picChg>
        <pc:picChg chg="add mod">
          <ac:chgData name="Rob Saunders - UKRI INNOVATEUK" userId="2620bb47-c9fd-471f-b645-e2e74e7b076e" providerId="ADAL" clId="{D2D663E6-3E69-48D7-8A0D-5497113D12E1}" dt="2020-11-02T12:55:47.112" v="1032" actId="1036"/>
          <ac:picMkLst>
            <pc:docMk/>
            <pc:sldMk cId="346373473" sldId="1079"/>
            <ac:picMk id="9" creationId="{2002A435-09D8-4785-AA3A-E9BD13F2414D}"/>
          </ac:picMkLst>
        </pc:picChg>
        <pc:picChg chg="add mod ord">
          <ac:chgData name="Rob Saunders - UKRI INNOVATEUK" userId="2620bb47-c9fd-471f-b645-e2e74e7b076e" providerId="ADAL" clId="{D2D663E6-3E69-48D7-8A0D-5497113D12E1}" dt="2020-11-02T12:55:47.112" v="1032" actId="1036"/>
          <ac:picMkLst>
            <pc:docMk/>
            <pc:sldMk cId="346373473" sldId="1079"/>
            <ac:picMk id="11" creationId="{CEC75299-F035-44FB-8706-94A131301AA4}"/>
          </ac:picMkLst>
        </pc:picChg>
        <pc:picChg chg="add mod">
          <ac:chgData name="Rob Saunders - UKRI INNOVATEUK" userId="2620bb47-c9fd-471f-b645-e2e74e7b076e" providerId="ADAL" clId="{D2D663E6-3E69-48D7-8A0D-5497113D12E1}" dt="2020-11-02T12:51:39.360" v="591" actId="1036"/>
          <ac:picMkLst>
            <pc:docMk/>
            <pc:sldMk cId="346373473" sldId="1079"/>
            <ac:picMk id="13" creationId="{7D7FA2F1-79C6-4466-B49E-9C23360DD900}"/>
          </ac:picMkLst>
        </pc:picChg>
      </pc:sldChg>
      <pc:sldChg chg="addSp delSp modSp new del mod">
        <pc:chgData name="Rob Saunders - UKRI INNOVATEUK" userId="2620bb47-c9fd-471f-b645-e2e74e7b076e" providerId="ADAL" clId="{D2D663E6-3E69-48D7-8A0D-5497113D12E1}" dt="2020-11-02T12:27:01.683" v="441" actId="47"/>
        <pc:sldMkLst>
          <pc:docMk/>
          <pc:sldMk cId="1750086537" sldId="1079"/>
        </pc:sldMkLst>
        <pc:spChg chg="del mod">
          <ac:chgData name="Rob Saunders - UKRI INNOVATEUK" userId="2620bb47-c9fd-471f-b645-e2e74e7b076e" providerId="ADAL" clId="{D2D663E6-3E69-48D7-8A0D-5497113D12E1}" dt="2020-11-02T12:13:34.621" v="131" actId="478"/>
          <ac:spMkLst>
            <pc:docMk/>
            <pc:sldMk cId="1750086537" sldId="1079"/>
            <ac:spMk id="2" creationId="{CFB51ECE-9C29-40B1-9FEE-0144DF9C9C57}"/>
          </ac:spMkLst>
        </pc:spChg>
        <pc:spChg chg="del">
          <ac:chgData name="Rob Saunders - UKRI INNOVATEUK" userId="2620bb47-c9fd-471f-b645-e2e74e7b076e" providerId="ADAL" clId="{D2D663E6-3E69-48D7-8A0D-5497113D12E1}" dt="2020-11-02T11:56:23.593" v="56" actId="478"/>
          <ac:spMkLst>
            <pc:docMk/>
            <pc:sldMk cId="1750086537" sldId="1079"/>
            <ac:spMk id="3" creationId="{7A20FA72-D63C-4E4F-B3A4-949623EC2972}"/>
          </ac:spMkLst>
        </pc:spChg>
        <pc:spChg chg="del">
          <ac:chgData name="Rob Saunders - UKRI INNOVATEUK" userId="2620bb47-c9fd-471f-b645-e2e74e7b076e" providerId="ADAL" clId="{D2D663E6-3E69-48D7-8A0D-5497113D12E1}" dt="2020-11-02T12:13:36.644" v="132" actId="478"/>
          <ac:spMkLst>
            <pc:docMk/>
            <pc:sldMk cId="1750086537" sldId="1079"/>
            <ac:spMk id="4" creationId="{30A9206E-E9D6-4416-BF3A-E0CA53802130}"/>
          </ac:spMkLst>
        </pc:spChg>
        <pc:spChg chg="add del mod">
          <ac:chgData name="Rob Saunders - UKRI INNOVATEUK" userId="2620bb47-c9fd-471f-b645-e2e74e7b076e" providerId="ADAL" clId="{D2D663E6-3E69-48D7-8A0D-5497113D12E1}" dt="2020-11-02T12:13:40.091" v="133" actId="478"/>
          <ac:spMkLst>
            <pc:docMk/>
            <pc:sldMk cId="1750086537" sldId="1079"/>
            <ac:spMk id="20" creationId="{F63F7DAA-8186-4DE6-AB46-8FE1D3EBA5A2}"/>
          </ac:spMkLst>
        </pc:spChg>
        <pc:picChg chg="add del mod">
          <ac:chgData name="Rob Saunders - UKRI INNOVATEUK" userId="2620bb47-c9fd-471f-b645-e2e74e7b076e" providerId="ADAL" clId="{D2D663E6-3E69-48D7-8A0D-5497113D12E1}" dt="2020-11-02T12:13:31.267" v="130" actId="478"/>
          <ac:picMkLst>
            <pc:docMk/>
            <pc:sldMk cId="1750086537" sldId="1079"/>
            <ac:picMk id="6" creationId="{7E827487-FCC8-4D10-8A91-7FCF04EB9CDD}"/>
          </ac:picMkLst>
        </pc:picChg>
        <pc:picChg chg="add del mod">
          <ac:chgData name="Rob Saunders - UKRI INNOVATEUK" userId="2620bb47-c9fd-471f-b645-e2e74e7b076e" providerId="ADAL" clId="{D2D663E6-3E69-48D7-8A0D-5497113D12E1}" dt="2020-11-02T12:13:36.644" v="132" actId="478"/>
          <ac:picMkLst>
            <pc:docMk/>
            <pc:sldMk cId="1750086537" sldId="1079"/>
            <ac:picMk id="8" creationId="{3AAF02AB-ABCC-46CB-A8EC-203471A216BF}"/>
          </ac:picMkLst>
        </pc:picChg>
        <pc:picChg chg="add del mod">
          <ac:chgData name="Rob Saunders - UKRI INNOVATEUK" userId="2620bb47-c9fd-471f-b645-e2e74e7b076e" providerId="ADAL" clId="{D2D663E6-3E69-48D7-8A0D-5497113D12E1}" dt="2020-11-02T12:13:36.644" v="132" actId="478"/>
          <ac:picMkLst>
            <pc:docMk/>
            <pc:sldMk cId="1750086537" sldId="1079"/>
            <ac:picMk id="10" creationId="{087A7C19-AC73-42D5-A7A8-357F3F37F926}"/>
          </ac:picMkLst>
        </pc:picChg>
        <pc:picChg chg="add del mod">
          <ac:chgData name="Rob Saunders - UKRI INNOVATEUK" userId="2620bb47-c9fd-471f-b645-e2e74e7b076e" providerId="ADAL" clId="{D2D663E6-3E69-48D7-8A0D-5497113D12E1}" dt="2020-11-02T12:13:36.644" v="132" actId="478"/>
          <ac:picMkLst>
            <pc:docMk/>
            <pc:sldMk cId="1750086537" sldId="1079"/>
            <ac:picMk id="12" creationId="{4662F3BB-CE19-47FE-9859-045F0B417462}"/>
          </ac:picMkLst>
        </pc:picChg>
        <pc:picChg chg="add del mod">
          <ac:chgData name="Rob Saunders - UKRI INNOVATEUK" userId="2620bb47-c9fd-471f-b645-e2e74e7b076e" providerId="ADAL" clId="{D2D663E6-3E69-48D7-8A0D-5497113D12E1}" dt="2020-11-02T12:13:36.644" v="132" actId="478"/>
          <ac:picMkLst>
            <pc:docMk/>
            <pc:sldMk cId="1750086537" sldId="1079"/>
            <ac:picMk id="14" creationId="{74F9B4DA-C15F-4E9D-9AC5-3EE0F6F3361B}"/>
          </ac:picMkLst>
        </pc:picChg>
        <pc:picChg chg="add del mod">
          <ac:chgData name="Rob Saunders - UKRI INNOVATEUK" userId="2620bb47-c9fd-471f-b645-e2e74e7b076e" providerId="ADAL" clId="{D2D663E6-3E69-48D7-8A0D-5497113D12E1}" dt="2020-11-02T12:13:36.644" v="132" actId="478"/>
          <ac:picMkLst>
            <pc:docMk/>
            <pc:sldMk cId="1750086537" sldId="1079"/>
            <ac:picMk id="16" creationId="{058797D6-BD62-4A85-B31B-49BCAAB4905B}"/>
          </ac:picMkLst>
        </pc:picChg>
        <pc:picChg chg="add del mod">
          <ac:chgData name="Rob Saunders - UKRI INNOVATEUK" userId="2620bb47-c9fd-471f-b645-e2e74e7b076e" providerId="ADAL" clId="{D2D663E6-3E69-48D7-8A0D-5497113D12E1}" dt="2020-11-02T12:13:36.644" v="132" actId="478"/>
          <ac:picMkLst>
            <pc:docMk/>
            <pc:sldMk cId="1750086537" sldId="1079"/>
            <ac:picMk id="18" creationId="{1971D8A6-BDC5-4CF8-8783-EA9D90FD13E3}"/>
          </ac:picMkLst>
        </pc:picChg>
      </pc:sldChg>
      <pc:sldMasterChg chg="addSldLayout delSldLayout modSldLayout">
        <pc:chgData name="Rob Saunders - UKRI INNOVATEUK" userId="2620bb47-c9fd-471f-b645-e2e74e7b076e" providerId="ADAL" clId="{D2D663E6-3E69-48D7-8A0D-5497113D12E1}" dt="2020-11-02T12:14:05.211" v="138" actId="22"/>
        <pc:sldMasterMkLst>
          <pc:docMk/>
          <pc:sldMasterMk cId="1832892779" sldId="2147483804"/>
        </pc:sldMasterMkLst>
        <pc:sldLayoutChg chg="add del mod">
          <pc:chgData name="Rob Saunders - UKRI INNOVATEUK" userId="2620bb47-c9fd-471f-b645-e2e74e7b076e" providerId="ADAL" clId="{D2D663E6-3E69-48D7-8A0D-5497113D12E1}" dt="2020-11-02T12:13:55.999" v="137" actId="22"/>
          <pc:sldLayoutMkLst>
            <pc:docMk/>
            <pc:sldMasterMk cId="1832892779" sldId="2147483804"/>
            <pc:sldLayoutMk cId="1222817819" sldId="2147483813"/>
          </pc:sldLayoutMkLst>
        </pc:sldLayoutChg>
        <pc:sldLayoutChg chg="add mod">
          <pc:chgData name="Rob Saunders - UKRI INNOVATEUK" userId="2620bb47-c9fd-471f-b645-e2e74e7b076e" providerId="ADAL" clId="{D2D663E6-3E69-48D7-8A0D-5497113D12E1}" dt="2020-11-02T12:14:05.211" v="138" actId="22"/>
          <pc:sldLayoutMkLst>
            <pc:docMk/>
            <pc:sldMasterMk cId="1832892779" sldId="2147483804"/>
            <pc:sldLayoutMk cId="2760852274" sldId="2147483813"/>
          </pc:sldLayoutMkLst>
        </pc:sldLayoutChg>
      </pc:sldMasterChg>
      <pc:sldMasterChg chg="del delSldLayout">
        <pc:chgData name="Rob Saunders - UKRI INNOVATEUK" userId="2620bb47-c9fd-471f-b645-e2e74e7b076e" providerId="ADAL" clId="{D2D663E6-3E69-48D7-8A0D-5497113D12E1}" dt="2020-10-23T10:42:02.717" v="13" actId="47"/>
        <pc:sldMasterMkLst>
          <pc:docMk/>
          <pc:sldMasterMk cId="3904642661" sldId="2147483813"/>
        </pc:sldMasterMkLst>
        <pc:sldLayoutChg chg="del">
          <pc:chgData name="Rob Saunders - UKRI INNOVATEUK" userId="2620bb47-c9fd-471f-b645-e2e74e7b076e" providerId="ADAL" clId="{D2D663E6-3E69-48D7-8A0D-5497113D12E1}" dt="2020-10-23T10:42:02.717" v="13" actId="47"/>
          <pc:sldLayoutMkLst>
            <pc:docMk/>
            <pc:sldMasterMk cId="3904642661" sldId="2147483813"/>
            <pc:sldLayoutMk cId="4103706799" sldId="2147483814"/>
          </pc:sldLayoutMkLst>
        </pc:sldLayoutChg>
        <pc:sldLayoutChg chg="del">
          <pc:chgData name="Rob Saunders - UKRI INNOVATEUK" userId="2620bb47-c9fd-471f-b645-e2e74e7b076e" providerId="ADAL" clId="{D2D663E6-3E69-48D7-8A0D-5497113D12E1}" dt="2020-10-23T10:42:02.717" v="13" actId="47"/>
          <pc:sldLayoutMkLst>
            <pc:docMk/>
            <pc:sldMasterMk cId="3904642661" sldId="2147483813"/>
            <pc:sldLayoutMk cId="2413318071" sldId="2147483815"/>
          </pc:sldLayoutMkLst>
        </pc:sldLayoutChg>
        <pc:sldLayoutChg chg="del">
          <pc:chgData name="Rob Saunders - UKRI INNOVATEUK" userId="2620bb47-c9fd-471f-b645-e2e74e7b076e" providerId="ADAL" clId="{D2D663E6-3E69-48D7-8A0D-5497113D12E1}" dt="2020-10-23T10:42:02.717" v="13" actId="47"/>
          <pc:sldLayoutMkLst>
            <pc:docMk/>
            <pc:sldMasterMk cId="3904642661" sldId="2147483813"/>
            <pc:sldLayoutMk cId="3171666127" sldId="2147483816"/>
          </pc:sldLayoutMkLst>
        </pc:sldLayoutChg>
        <pc:sldLayoutChg chg="del">
          <pc:chgData name="Rob Saunders - UKRI INNOVATEUK" userId="2620bb47-c9fd-471f-b645-e2e74e7b076e" providerId="ADAL" clId="{D2D663E6-3E69-48D7-8A0D-5497113D12E1}" dt="2020-10-23T10:42:02.717" v="13" actId="47"/>
          <pc:sldLayoutMkLst>
            <pc:docMk/>
            <pc:sldMasterMk cId="3904642661" sldId="2147483813"/>
            <pc:sldLayoutMk cId="2063654353" sldId="2147483817"/>
          </pc:sldLayoutMkLst>
        </pc:sldLayoutChg>
        <pc:sldLayoutChg chg="del">
          <pc:chgData name="Rob Saunders - UKRI INNOVATEUK" userId="2620bb47-c9fd-471f-b645-e2e74e7b076e" providerId="ADAL" clId="{D2D663E6-3E69-48D7-8A0D-5497113D12E1}" dt="2020-10-23T10:42:02.717" v="13" actId="47"/>
          <pc:sldLayoutMkLst>
            <pc:docMk/>
            <pc:sldMasterMk cId="3904642661" sldId="2147483813"/>
            <pc:sldLayoutMk cId="3453070756" sldId="2147483818"/>
          </pc:sldLayoutMkLst>
        </pc:sldLayoutChg>
        <pc:sldLayoutChg chg="del">
          <pc:chgData name="Rob Saunders - UKRI INNOVATEUK" userId="2620bb47-c9fd-471f-b645-e2e74e7b076e" providerId="ADAL" clId="{D2D663E6-3E69-48D7-8A0D-5497113D12E1}" dt="2020-10-23T10:42:02.717" v="13" actId="47"/>
          <pc:sldLayoutMkLst>
            <pc:docMk/>
            <pc:sldMasterMk cId="3904642661" sldId="2147483813"/>
            <pc:sldLayoutMk cId="1431852509" sldId="2147483819"/>
          </pc:sldLayoutMkLst>
        </pc:sldLayoutChg>
        <pc:sldLayoutChg chg="del">
          <pc:chgData name="Rob Saunders - UKRI INNOVATEUK" userId="2620bb47-c9fd-471f-b645-e2e74e7b076e" providerId="ADAL" clId="{D2D663E6-3E69-48D7-8A0D-5497113D12E1}" dt="2020-10-23T10:42:02.717" v="13" actId="47"/>
          <pc:sldLayoutMkLst>
            <pc:docMk/>
            <pc:sldMasterMk cId="3904642661" sldId="2147483813"/>
            <pc:sldLayoutMk cId="3188992332" sldId="2147483820"/>
          </pc:sldLayoutMkLst>
        </pc:sldLayoutChg>
        <pc:sldLayoutChg chg="del">
          <pc:chgData name="Rob Saunders - UKRI INNOVATEUK" userId="2620bb47-c9fd-471f-b645-e2e74e7b076e" providerId="ADAL" clId="{D2D663E6-3E69-48D7-8A0D-5497113D12E1}" dt="2020-10-23T10:42:02.717" v="13" actId="47"/>
          <pc:sldLayoutMkLst>
            <pc:docMk/>
            <pc:sldMasterMk cId="3904642661" sldId="2147483813"/>
            <pc:sldLayoutMk cId="3835640113" sldId="2147483821"/>
          </pc:sldLayoutMkLst>
        </pc:sldLayoutChg>
        <pc:sldLayoutChg chg="del">
          <pc:chgData name="Rob Saunders - UKRI INNOVATEUK" userId="2620bb47-c9fd-471f-b645-e2e74e7b076e" providerId="ADAL" clId="{D2D663E6-3E69-48D7-8A0D-5497113D12E1}" dt="2020-10-23T10:42:02.717" v="13" actId="47"/>
          <pc:sldLayoutMkLst>
            <pc:docMk/>
            <pc:sldMasterMk cId="3904642661" sldId="2147483813"/>
            <pc:sldLayoutMk cId="223573400" sldId="2147483822"/>
          </pc:sldLayoutMkLst>
        </pc:sldLayoutChg>
        <pc:sldLayoutChg chg="del">
          <pc:chgData name="Rob Saunders - UKRI INNOVATEUK" userId="2620bb47-c9fd-471f-b645-e2e74e7b076e" providerId="ADAL" clId="{D2D663E6-3E69-48D7-8A0D-5497113D12E1}" dt="2020-10-23T10:42:02.717" v="13" actId="47"/>
          <pc:sldLayoutMkLst>
            <pc:docMk/>
            <pc:sldMasterMk cId="3904642661" sldId="2147483813"/>
            <pc:sldLayoutMk cId="3905916481" sldId="2147483823"/>
          </pc:sldLayoutMkLst>
        </pc:sldLayoutChg>
        <pc:sldLayoutChg chg="del">
          <pc:chgData name="Rob Saunders - UKRI INNOVATEUK" userId="2620bb47-c9fd-471f-b645-e2e74e7b076e" providerId="ADAL" clId="{D2D663E6-3E69-48D7-8A0D-5497113D12E1}" dt="2020-10-23T10:42:02.717" v="13" actId="47"/>
          <pc:sldLayoutMkLst>
            <pc:docMk/>
            <pc:sldMasterMk cId="3904642661" sldId="2147483813"/>
            <pc:sldLayoutMk cId="1123583511" sldId="2147483824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546A280-2068-4526-9648-78A9FE631F96}" type="doc">
      <dgm:prSet loTypeId="urn:microsoft.com/office/officeart/2005/8/layout/matrix1" loCatId="matrix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71048CB4-B83B-4B22-B28D-EC857FF65DDB}">
      <dgm:prSet phldrT="[Text]"/>
      <dgm:spPr>
        <a:solidFill>
          <a:schemeClr val="tx1"/>
        </a:solidFill>
      </dgm:spPr>
      <dgm:t>
        <a:bodyPr/>
        <a:lstStyle/>
        <a:p>
          <a:r>
            <a:rPr lang="en-US" dirty="0">
              <a:solidFill>
                <a:schemeClr val="bg1"/>
              </a:solidFill>
            </a:rPr>
            <a:t>Objectives</a:t>
          </a:r>
        </a:p>
      </dgm:t>
    </dgm:pt>
    <dgm:pt modelId="{CE735CEC-E78B-41AB-83A0-8F55CB0BE42D}" type="parTrans" cxnId="{CC629358-0224-421A-B6B9-1764EFAC8BB6}">
      <dgm:prSet/>
      <dgm:spPr/>
      <dgm:t>
        <a:bodyPr/>
        <a:lstStyle/>
        <a:p>
          <a:endParaRPr lang="en-US"/>
        </a:p>
      </dgm:t>
    </dgm:pt>
    <dgm:pt modelId="{7D526BDD-A627-4C2E-86D5-956D13B324CD}" type="sibTrans" cxnId="{CC629358-0224-421A-B6B9-1764EFAC8BB6}">
      <dgm:prSet/>
      <dgm:spPr/>
      <dgm:t>
        <a:bodyPr/>
        <a:lstStyle/>
        <a:p>
          <a:endParaRPr lang="en-US"/>
        </a:p>
      </dgm:t>
    </dgm:pt>
    <dgm:pt modelId="{FED1235A-19E5-4647-A31F-5513D6F106D4}">
      <dgm:prSet phldrT="[Text]"/>
      <dgm:spPr/>
      <dgm:t>
        <a:bodyPr/>
        <a:lstStyle/>
        <a:p>
          <a:r>
            <a:rPr lang="en-US" dirty="0"/>
            <a:t>Prove Investible Scalable Local Energy Business Models </a:t>
          </a:r>
        </a:p>
      </dgm:t>
    </dgm:pt>
    <dgm:pt modelId="{D23569DA-DBCA-4422-8C2B-88B09062FBDD}" type="parTrans" cxnId="{38D095FC-D1E9-49D9-80AD-84DAA50811AB}">
      <dgm:prSet/>
      <dgm:spPr/>
      <dgm:t>
        <a:bodyPr/>
        <a:lstStyle/>
        <a:p>
          <a:endParaRPr lang="en-US"/>
        </a:p>
      </dgm:t>
    </dgm:pt>
    <dgm:pt modelId="{CDC353B1-5B47-4DFE-89B5-CC3B3105FEE1}" type="sibTrans" cxnId="{38D095FC-D1E9-49D9-80AD-84DAA50811AB}">
      <dgm:prSet/>
      <dgm:spPr/>
      <dgm:t>
        <a:bodyPr/>
        <a:lstStyle/>
        <a:p>
          <a:endParaRPr lang="en-US"/>
        </a:p>
      </dgm:t>
    </dgm:pt>
    <dgm:pt modelId="{FF027587-A6DA-499B-9732-3115E5E6CBBF}">
      <dgm:prSet phldrT="[Text]"/>
      <dgm:spPr/>
      <dgm:t>
        <a:bodyPr/>
        <a:lstStyle/>
        <a:p>
          <a:r>
            <a:rPr lang="en-US" dirty="0"/>
            <a:t>Unlock Finance</a:t>
          </a:r>
        </a:p>
      </dgm:t>
    </dgm:pt>
    <dgm:pt modelId="{F051F968-DC98-4442-9F3C-6AE73DDA5A5C}" type="parTrans" cxnId="{15DE4664-B3BD-4716-A26C-D3EA950CFCC6}">
      <dgm:prSet/>
      <dgm:spPr/>
      <dgm:t>
        <a:bodyPr/>
        <a:lstStyle/>
        <a:p>
          <a:endParaRPr lang="en-US"/>
        </a:p>
      </dgm:t>
    </dgm:pt>
    <dgm:pt modelId="{E6583AE6-6373-4C18-B5B0-6AEC4E5469D5}" type="sibTrans" cxnId="{15DE4664-B3BD-4716-A26C-D3EA950CFCC6}">
      <dgm:prSet/>
      <dgm:spPr/>
      <dgm:t>
        <a:bodyPr/>
        <a:lstStyle/>
        <a:p>
          <a:endParaRPr lang="en-US"/>
        </a:p>
      </dgm:t>
    </dgm:pt>
    <dgm:pt modelId="{95A58C7B-9D89-4149-BA7D-ED5C0E10EB5B}">
      <dgm:prSet phldrT="[Text]"/>
      <dgm:spPr/>
      <dgm:t>
        <a:bodyPr/>
        <a:lstStyle/>
        <a:p>
          <a:r>
            <a:rPr lang="en-US" dirty="0"/>
            <a:t>Accelerate New Products &amp; Services to </a:t>
          </a:r>
          <a:r>
            <a:rPr lang="en-US" dirty="0" err="1"/>
            <a:t>Commercialisation</a:t>
          </a:r>
          <a:endParaRPr lang="en-US" dirty="0"/>
        </a:p>
      </dgm:t>
    </dgm:pt>
    <dgm:pt modelId="{C00AE6E1-C042-45A7-948A-603F5BD5FE61}" type="parTrans" cxnId="{223F95D2-9FE5-455D-AF79-40EEFB72A4F9}">
      <dgm:prSet/>
      <dgm:spPr/>
      <dgm:t>
        <a:bodyPr/>
        <a:lstStyle/>
        <a:p>
          <a:endParaRPr lang="en-US"/>
        </a:p>
      </dgm:t>
    </dgm:pt>
    <dgm:pt modelId="{3BC089E5-B686-4DDD-84A2-A59C7CE6FE61}" type="sibTrans" cxnId="{223F95D2-9FE5-455D-AF79-40EEFB72A4F9}">
      <dgm:prSet/>
      <dgm:spPr/>
      <dgm:t>
        <a:bodyPr/>
        <a:lstStyle/>
        <a:p>
          <a:endParaRPr lang="en-US"/>
        </a:p>
      </dgm:t>
    </dgm:pt>
    <dgm:pt modelId="{C51A7EC4-D39F-42AC-9CBC-6CEE7403D59F}">
      <dgm:prSet phldrT="[Text]"/>
      <dgm:spPr/>
      <dgm:t>
        <a:bodyPr/>
        <a:lstStyle/>
        <a:p>
          <a:r>
            <a:rPr lang="en-US" dirty="0"/>
            <a:t>Build UK Leadership</a:t>
          </a:r>
        </a:p>
      </dgm:t>
    </dgm:pt>
    <dgm:pt modelId="{FB9F89F0-F983-48EB-8E13-0EACA96D08A3}" type="parTrans" cxnId="{E462F192-1BA3-4AC8-9FC7-9A7F49ECDB0C}">
      <dgm:prSet/>
      <dgm:spPr/>
      <dgm:t>
        <a:bodyPr/>
        <a:lstStyle/>
        <a:p>
          <a:endParaRPr lang="en-US"/>
        </a:p>
      </dgm:t>
    </dgm:pt>
    <dgm:pt modelId="{4E81F0FA-041D-446C-B014-69741A9C13E4}" type="sibTrans" cxnId="{E462F192-1BA3-4AC8-9FC7-9A7F49ECDB0C}">
      <dgm:prSet/>
      <dgm:spPr/>
      <dgm:t>
        <a:bodyPr/>
        <a:lstStyle/>
        <a:p>
          <a:endParaRPr lang="en-US"/>
        </a:p>
      </dgm:t>
    </dgm:pt>
    <dgm:pt modelId="{D3A9CC58-AA1D-4427-AF58-79A46ABB0E43}">
      <dgm:prSet phldrT="[Text]"/>
      <dgm:spPr>
        <a:solidFill>
          <a:schemeClr val="tx1"/>
        </a:solidFill>
      </dgm:spPr>
      <dgm:t>
        <a:bodyPr/>
        <a:lstStyle/>
        <a:p>
          <a:endParaRPr lang="en-US"/>
        </a:p>
      </dgm:t>
    </dgm:pt>
    <dgm:pt modelId="{06D1F494-C73F-4C2D-BAE0-B15BE005DA9C}" type="parTrans" cxnId="{8123D94B-F51D-4E13-BE01-D9DCE65FD1A0}">
      <dgm:prSet/>
      <dgm:spPr/>
      <dgm:t>
        <a:bodyPr/>
        <a:lstStyle/>
        <a:p>
          <a:endParaRPr lang="en-US"/>
        </a:p>
      </dgm:t>
    </dgm:pt>
    <dgm:pt modelId="{299A3B9E-EB5D-4F00-8AEE-2F10B31EAFEF}" type="sibTrans" cxnId="{8123D94B-F51D-4E13-BE01-D9DCE65FD1A0}">
      <dgm:prSet/>
      <dgm:spPr/>
      <dgm:t>
        <a:bodyPr/>
        <a:lstStyle/>
        <a:p>
          <a:endParaRPr lang="en-US"/>
        </a:p>
      </dgm:t>
    </dgm:pt>
    <dgm:pt modelId="{43733D6C-904E-4499-8BFD-E8B910C26876}" type="pres">
      <dgm:prSet presAssocID="{6546A280-2068-4526-9648-78A9FE631F96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E6CF3E9F-908A-4249-AE4F-3BEAB66A4CBE}" type="pres">
      <dgm:prSet presAssocID="{6546A280-2068-4526-9648-78A9FE631F96}" presName="matrix" presStyleCnt="0"/>
      <dgm:spPr/>
    </dgm:pt>
    <dgm:pt modelId="{130EB798-F6C8-4BEF-8656-6E3B7DD6E7E7}" type="pres">
      <dgm:prSet presAssocID="{6546A280-2068-4526-9648-78A9FE631F96}" presName="tile1" presStyleLbl="node1" presStyleIdx="0" presStyleCnt="4"/>
      <dgm:spPr/>
    </dgm:pt>
    <dgm:pt modelId="{6331CBAA-BB4F-4A34-A7F3-29449E8C1B36}" type="pres">
      <dgm:prSet presAssocID="{6546A280-2068-4526-9648-78A9FE631F96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DF709950-9B6A-494A-B865-0E890120FE61}" type="pres">
      <dgm:prSet presAssocID="{6546A280-2068-4526-9648-78A9FE631F96}" presName="tile2" presStyleLbl="node1" presStyleIdx="1" presStyleCnt="4"/>
      <dgm:spPr/>
    </dgm:pt>
    <dgm:pt modelId="{68863871-BE7D-45D5-A34C-8FB9105CCB11}" type="pres">
      <dgm:prSet presAssocID="{6546A280-2068-4526-9648-78A9FE631F96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A06CDB3-AF13-4BAD-A472-D078819A0801}" type="pres">
      <dgm:prSet presAssocID="{6546A280-2068-4526-9648-78A9FE631F96}" presName="tile3" presStyleLbl="node1" presStyleIdx="2" presStyleCnt="4"/>
      <dgm:spPr/>
    </dgm:pt>
    <dgm:pt modelId="{B3242006-AE18-4AED-A7C6-F24D3BF5876B}" type="pres">
      <dgm:prSet presAssocID="{6546A280-2068-4526-9648-78A9FE631F96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A783D95D-055A-45C2-BB5E-403CF98F87B7}" type="pres">
      <dgm:prSet presAssocID="{6546A280-2068-4526-9648-78A9FE631F96}" presName="tile4" presStyleLbl="node1" presStyleIdx="3" presStyleCnt="4"/>
      <dgm:spPr/>
    </dgm:pt>
    <dgm:pt modelId="{15FA10BF-DB2E-4037-A73D-A530A71A0DEE}" type="pres">
      <dgm:prSet presAssocID="{6546A280-2068-4526-9648-78A9FE631F96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D4C62BE1-B6C9-46B6-9B19-2985039400FD}" type="pres">
      <dgm:prSet presAssocID="{6546A280-2068-4526-9648-78A9FE631F96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C9B59107-A440-47DB-BCF5-CFE6A3E23047}" type="presOf" srcId="{6546A280-2068-4526-9648-78A9FE631F96}" destId="{43733D6C-904E-4499-8BFD-E8B910C26876}" srcOrd="0" destOrd="0" presId="urn:microsoft.com/office/officeart/2005/8/layout/matrix1"/>
    <dgm:cxn modelId="{9B600A26-4A31-495C-8B68-8BFBA401B2FF}" type="presOf" srcId="{FF027587-A6DA-499B-9732-3115E5E6CBBF}" destId="{68863871-BE7D-45D5-A34C-8FB9105CCB11}" srcOrd="1" destOrd="0" presId="urn:microsoft.com/office/officeart/2005/8/layout/matrix1"/>
    <dgm:cxn modelId="{15DE4664-B3BD-4716-A26C-D3EA950CFCC6}" srcId="{71048CB4-B83B-4B22-B28D-EC857FF65DDB}" destId="{FF027587-A6DA-499B-9732-3115E5E6CBBF}" srcOrd="1" destOrd="0" parTransId="{F051F968-DC98-4442-9F3C-6AE73DDA5A5C}" sibTransId="{E6583AE6-6373-4C18-B5B0-6AEC4E5469D5}"/>
    <dgm:cxn modelId="{8123D94B-F51D-4E13-BE01-D9DCE65FD1A0}" srcId="{6546A280-2068-4526-9648-78A9FE631F96}" destId="{D3A9CC58-AA1D-4427-AF58-79A46ABB0E43}" srcOrd="1" destOrd="0" parTransId="{06D1F494-C73F-4C2D-BAE0-B15BE005DA9C}" sibTransId="{299A3B9E-EB5D-4F00-8AEE-2F10B31EAFEF}"/>
    <dgm:cxn modelId="{89458671-8265-47B2-B11D-311B5A857370}" type="presOf" srcId="{FED1235A-19E5-4647-A31F-5513D6F106D4}" destId="{130EB798-F6C8-4BEF-8656-6E3B7DD6E7E7}" srcOrd="0" destOrd="0" presId="urn:microsoft.com/office/officeart/2005/8/layout/matrix1"/>
    <dgm:cxn modelId="{CC629358-0224-421A-B6B9-1764EFAC8BB6}" srcId="{6546A280-2068-4526-9648-78A9FE631F96}" destId="{71048CB4-B83B-4B22-B28D-EC857FF65DDB}" srcOrd="0" destOrd="0" parTransId="{CE735CEC-E78B-41AB-83A0-8F55CB0BE42D}" sibTransId="{7D526BDD-A627-4C2E-86D5-956D13B324CD}"/>
    <dgm:cxn modelId="{8F0E3F82-F711-4856-BECF-38BCD854A672}" type="presOf" srcId="{C51A7EC4-D39F-42AC-9CBC-6CEE7403D59F}" destId="{15FA10BF-DB2E-4037-A73D-A530A71A0DEE}" srcOrd="1" destOrd="0" presId="urn:microsoft.com/office/officeart/2005/8/layout/matrix1"/>
    <dgm:cxn modelId="{E462F192-1BA3-4AC8-9FC7-9A7F49ECDB0C}" srcId="{71048CB4-B83B-4B22-B28D-EC857FF65DDB}" destId="{C51A7EC4-D39F-42AC-9CBC-6CEE7403D59F}" srcOrd="3" destOrd="0" parTransId="{FB9F89F0-F983-48EB-8E13-0EACA96D08A3}" sibTransId="{4E81F0FA-041D-446C-B014-69741A9C13E4}"/>
    <dgm:cxn modelId="{461E8999-A6AB-44C5-9B0E-BE1B9410A041}" type="presOf" srcId="{95A58C7B-9D89-4149-BA7D-ED5C0E10EB5B}" destId="{CA06CDB3-AF13-4BAD-A472-D078819A0801}" srcOrd="0" destOrd="0" presId="urn:microsoft.com/office/officeart/2005/8/layout/matrix1"/>
    <dgm:cxn modelId="{8E2A43AC-AD68-44CF-99B9-A0F57CDABA95}" type="presOf" srcId="{FED1235A-19E5-4647-A31F-5513D6F106D4}" destId="{6331CBAA-BB4F-4A34-A7F3-29449E8C1B36}" srcOrd="1" destOrd="0" presId="urn:microsoft.com/office/officeart/2005/8/layout/matrix1"/>
    <dgm:cxn modelId="{92D48AD1-EC96-46BA-88FA-3080B61F2CF0}" type="presOf" srcId="{FF027587-A6DA-499B-9732-3115E5E6CBBF}" destId="{DF709950-9B6A-494A-B865-0E890120FE61}" srcOrd="0" destOrd="0" presId="urn:microsoft.com/office/officeart/2005/8/layout/matrix1"/>
    <dgm:cxn modelId="{32AC8CD2-BE34-4EA7-B94B-9EC215F9F14E}" type="presOf" srcId="{C51A7EC4-D39F-42AC-9CBC-6CEE7403D59F}" destId="{A783D95D-055A-45C2-BB5E-403CF98F87B7}" srcOrd="0" destOrd="0" presId="urn:microsoft.com/office/officeart/2005/8/layout/matrix1"/>
    <dgm:cxn modelId="{223F95D2-9FE5-455D-AF79-40EEFB72A4F9}" srcId="{71048CB4-B83B-4B22-B28D-EC857FF65DDB}" destId="{95A58C7B-9D89-4149-BA7D-ED5C0E10EB5B}" srcOrd="2" destOrd="0" parTransId="{C00AE6E1-C042-45A7-948A-603F5BD5FE61}" sibTransId="{3BC089E5-B686-4DDD-84A2-A59C7CE6FE61}"/>
    <dgm:cxn modelId="{50F2DAE4-234C-4882-9D7C-BAA316471F4E}" type="presOf" srcId="{71048CB4-B83B-4B22-B28D-EC857FF65DDB}" destId="{D4C62BE1-B6C9-46B6-9B19-2985039400FD}" srcOrd="0" destOrd="0" presId="urn:microsoft.com/office/officeart/2005/8/layout/matrix1"/>
    <dgm:cxn modelId="{7D986BFA-0300-4D77-AD34-8CE182C681A5}" type="presOf" srcId="{95A58C7B-9D89-4149-BA7D-ED5C0E10EB5B}" destId="{B3242006-AE18-4AED-A7C6-F24D3BF5876B}" srcOrd="1" destOrd="0" presId="urn:microsoft.com/office/officeart/2005/8/layout/matrix1"/>
    <dgm:cxn modelId="{38D095FC-D1E9-49D9-80AD-84DAA50811AB}" srcId="{71048CB4-B83B-4B22-B28D-EC857FF65DDB}" destId="{FED1235A-19E5-4647-A31F-5513D6F106D4}" srcOrd="0" destOrd="0" parTransId="{D23569DA-DBCA-4422-8C2B-88B09062FBDD}" sibTransId="{CDC353B1-5B47-4DFE-89B5-CC3B3105FEE1}"/>
    <dgm:cxn modelId="{196CDE16-ACDD-4460-BF10-886632C22096}" type="presParOf" srcId="{43733D6C-904E-4499-8BFD-E8B910C26876}" destId="{E6CF3E9F-908A-4249-AE4F-3BEAB66A4CBE}" srcOrd="0" destOrd="0" presId="urn:microsoft.com/office/officeart/2005/8/layout/matrix1"/>
    <dgm:cxn modelId="{52DF9D5E-A1B1-4F9A-9363-EF4A7C742EB7}" type="presParOf" srcId="{E6CF3E9F-908A-4249-AE4F-3BEAB66A4CBE}" destId="{130EB798-F6C8-4BEF-8656-6E3B7DD6E7E7}" srcOrd="0" destOrd="0" presId="urn:microsoft.com/office/officeart/2005/8/layout/matrix1"/>
    <dgm:cxn modelId="{FC73FFEA-75F5-4C93-97E6-7E23C9AE98F9}" type="presParOf" srcId="{E6CF3E9F-908A-4249-AE4F-3BEAB66A4CBE}" destId="{6331CBAA-BB4F-4A34-A7F3-29449E8C1B36}" srcOrd="1" destOrd="0" presId="urn:microsoft.com/office/officeart/2005/8/layout/matrix1"/>
    <dgm:cxn modelId="{27D1FB46-2F1E-4DB6-B885-05D5463CB37B}" type="presParOf" srcId="{E6CF3E9F-908A-4249-AE4F-3BEAB66A4CBE}" destId="{DF709950-9B6A-494A-B865-0E890120FE61}" srcOrd="2" destOrd="0" presId="urn:microsoft.com/office/officeart/2005/8/layout/matrix1"/>
    <dgm:cxn modelId="{8EC8DAAD-94DA-43E8-8B25-26A8AE1891F2}" type="presParOf" srcId="{E6CF3E9F-908A-4249-AE4F-3BEAB66A4CBE}" destId="{68863871-BE7D-45D5-A34C-8FB9105CCB11}" srcOrd="3" destOrd="0" presId="urn:microsoft.com/office/officeart/2005/8/layout/matrix1"/>
    <dgm:cxn modelId="{4B6F2D06-690F-4C8F-91E8-1FEE4C081BF7}" type="presParOf" srcId="{E6CF3E9F-908A-4249-AE4F-3BEAB66A4CBE}" destId="{CA06CDB3-AF13-4BAD-A472-D078819A0801}" srcOrd="4" destOrd="0" presId="urn:microsoft.com/office/officeart/2005/8/layout/matrix1"/>
    <dgm:cxn modelId="{C196E12A-DAE5-461B-9134-B8584123DFD1}" type="presParOf" srcId="{E6CF3E9F-908A-4249-AE4F-3BEAB66A4CBE}" destId="{B3242006-AE18-4AED-A7C6-F24D3BF5876B}" srcOrd="5" destOrd="0" presId="urn:microsoft.com/office/officeart/2005/8/layout/matrix1"/>
    <dgm:cxn modelId="{A41414A3-E278-4792-A2B3-3676B1EBDEAC}" type="presParOf" srcId="{E6CF3E9F-908A-4249-AE4F-3BEAB66A4CBE}" destId="{A783D95D-055A-45C2-BB5E-403CF98F87B7}" srcOrd="6" destOrd="0" presId="urn:microsoft.com/office/officeart/2005/8/layout/matrix1"/>
    <dgm:cxn modelId="{6B773148-105B-4881-9D86-519B1E08AAB6}" type="presParOf" srcId="{E6CF3E9F-908A-4249-AE4F-3BEAB66A4CBE}" destId="{15FA10BF-DB2E-4037-A73D-A530A71A0DEE}" srcOrd="7" destOrd="0" presId="urn:microsoft.com/office/officeart/2005/8/layout/matrix1"/>
    <dgm:cxn modelId="{27AF7711-C316-45A4-B52E-D40CA6EAE183}" type="presParOf" srcId="{43733D6C-904E-4499-8BFD-E8B910C26876}" destId="{D4C62BE1-B6C9-46B6-9B19-2985039400FD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0EB798-F6C8-4BEF-8656-6E3B7DD6E7E7}">
      <dsp:nvSpPr>
        <dsp:cNvPr id="0" name=""/>
        <dsp:cNvSpPr/>
      </dsp:nvSpPr>
      <dsp:spPr>
        <a:xfrm rot="16200000">
          <a:off x="204740" y="-204740"/>
          <a:ext cx="1380651" cy="1790131"/>
        </a:xfrm>
        <a:prstGeom prst="round1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Prove Investible Scalable Local Energy Business Models </a:t>
          </a:r>
        </a:p>
      </dsp:txBody>
      <dsp:txXfrm rot="5400000">
        <a:off x="0" y="0"/>
        <a:ext cx="1790131" cy="1035488"/>
      </dsp:txXfrm>
    </dsp:sp>
    <dsp:sp modelId="{DF709950-9B6A-494A-B865-0E890120FE61}">
      <dsp:nvSpPr>
        <dsp:cNvPr id="0" name=""/>
        <dsp:cNvSpPr/>
      </dsp:nvSpPr>
      <dsp:spPr>
        <a:xfrm>
          <a:off x="1790131" y="0"/>
          <a:ext cx="1790131" cy="1380651"/>
        </a:xfrm>
        <a:prstGeom prst="round1Rect">
          <a:avLst/>
        </a:prstGeom>
        <a:solidFill>
          <a:schemeClr val="accent3">
            <a:hueOff val="838333"/>
            <a:satOff val="4395"/>
            <a:lumOff val="-6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Unlock Finance</a:t>
          </a:r>
        </a:p>
      </dsp:txBody>
      <dsp:txXfrm>
        <a:off x="1790131" y="0"/>
        <a:ext cx="1790131" cy="1035488"/>
      </dsp:txXfrm>
    </dsp:sp>
    <dsp:sp modelId="{CA06CDB3-AF13-4BAD-A472-D078819A0801}">
      <dsp:nvSpPr>
        <dsp:cNvPr id="0" name=""/>
        <dsp:cNvSpPr/>
      </dsp:nvSpPr>
      <dsp:spPr>
        <a:xfrm rot="10800000">
          <a:off x="0" y="1380651"/>
          <a:ext cx="1790131" cy="1380651"/>
        </a:xfrm>
        <a:prstGeom prst="round1Rect">
          <a:avLst/>
        </a:prstGeom>
        <a:solidFill>
          <a:schemeClr val="accent3">
            <a:hueOff val="1676665"/>
            <a:satOff val="8790"/>
            <a:lumOff val="-1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Accelerate New Products &amp; Services to </a:t>
          </a:r>
          <a:r>
            <a:rPr lang="en-US" sz="1500" kern="1200" dirty="0" err="1"/>
            <a:t>Commercialisation</a:t>
          </a:r>
          <a:endParaRPr lang="en-US" sz="1500" kern="1200" dirty="0"/>
        </a:p>
      </dsp:txBody>
      <dsp:txXfrm rot="10800000">
        <a:off x="0" y="1725813"/>
        <a:ext cx="1790131" cy="1035488"/>
      </dsp:txXfrm>
    </dsp:sp>
    <dsp:sp modelId="{A783D95D-055A-45C2-BB5E-403CF98F87B7}">
      <dsp:nvSpPr>
        <dsp:cNvPr id="0" name=""/>
        <dsp:cNvSpPr/>
      </dsp:nvSpPr>
      <dsp:spPr>
        <a:xfrm rot="5400000">
          <a:off x="1994871" y="1175910"/>
          <a:ext cx="1380651" cy="1790131"/>
        </a:xfrm>
        <a:prstGeom prst="round1Rect">
          <a:avLst/>
        </a:prstGeom>
        <a:solidFill>
          <a:schemeClr val="accent3">
            <a:hueOff val="2514998"/>
            <a:satOff val="13185"/>
            <a:lumOff val="-1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Build UK Leadership</a:t>
          </a:r>
        </a:p>
      </dsp:txBody>
      <dsp:txXfrm rot="-5400000">
        <a:off x="1790132" y="1725813"/>
        <a:ext cx="1790131" cy="1035488"/>
      </dsp:txXfrm>
    </dsp:sp>
    <dsp:sp modelId="{D4C62BE1-B6C9-46B6-9B19-2985039400FD}">
      <dsp:nvSpPr>
        <dsp:cNvPr id="0" name=""/>
        <dsp:cNvSpPr/>
      </dsp:nvSpPr>
      <dsp:spPr>
        <a:xfrm>
          <a:off x="1253092" y="1035488"/>
          <a:ext cx="1074078" cy="690325"/>
        </a:xfrm>
        <a:prstGeom prst="roundRect">
          <a:avLst/>
        </a:prstGeom>
        <a:solidFill>
          <a:schemeClr val="tx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solidFill>
                <a:schemeClr val="bg1"/>
              </a:solidFill>
            </a:rPr>
            <a:t>Objectives</a:t>
          </a:r>
        </a:p>
      </dsp:txBody>
      <dsp:txXfrm>
        <a:off x="1286791" y="1069187"/>
        <a:ext cx="1006680" cy="6229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1448D35-410B-524E-8A8F-59FFF70E426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12BB44-5AF9-D949-B363-9E7FF672154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4F93DA-A27C-C742-B58F-D72D80F04C85}" type="datetimeFigureOut">
              <a:rPr lang="en-US" smtClean="0"/>
              <a:t>11/2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06DDC5-1ED0-EC48-9200-B5370835311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040AD8-24E5-3347-8C1D-A99626D66BB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AEF15B-F5D1-2845-9873-FD89CECF7C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04005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C01B75-0054-2D45-BAE3-5EFC9BF9FBA7}" type="datetimeFigureOut">
              <a:rPr lang="en-US" smtClean="0"/>
              <a:t>11/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2B6EE5-A699-8E40-B9DE-152024631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4217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energy revolution is happening – just look at coal, oil vs solar and wind.</a:t>
            </a:r>
          </a:p>
          <a:p>
            <a:r>
              <a:rPr lang="en-GB" dirty="0"/>
              <a:t>Not just tech substitution, it’s blowing apart the nice neat centralised system into a million different pieces all over the place.</a:t>
            </a:r>
          </a:p>
          <a:p>
            <a:r>
              <a:rPr lang="en-GB" dirty="0"/>
              <a:t>But the good news is, it’s going to be cleaner and cheaper – if we can find the right ways to organise it!</a:t>
            </a:r>
          </a:p>
          <a:p>
            <a:r>
              <a:rPr lang="en-GB" dirty="0"/>
              <a:t>That’s what this programme aims to do – put all the bits of the future system together intelligently so we can all live better net zero lives without worrying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2B6EE5-A699-8E40-B9DE-15202463104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3987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ocal because</a:t>
            </a:r>
          </a:p>
          <a:p>
            <a:r>
              <a:rPr lang="en-GB" dirty="0"/>
              <a:t>Technically 	–  cheaper cleaner tech is more distributed.</a:t>
            </a:r>
          </a:p>
          <a:p>
            <a:r>
              <a:rPr lang="en-GB" dirty="0"/>
              <a:t>	- Heat is inherently local – we can’t pump that far</a:t>
            </a:r>
          </a:p>
          <a:p>
            <a:r>
              <a:rPr lang="en-GB" dirty="0"/>
              <a:t>	- demand, flexibility is local first and foremost.</a:t>
            </a:r>
          </a:p>
          <a:p>
            <a:endParaRPr lang="en-GB" dirty="0"/>
          </a:p>
          <a:p>
            <a:r>
              <a:rPr lang="en-GB" dirty="0"/>
              <a:t>Economics 	- Local systems mean local jobs &amp; therefore fairer systems balanced across the country</a:t>
            </a:r>
          </a:p>
          <a:p>
            <a:r>
              <a:rPr lang="en-GB" dirty="0"/>
              <a:t>	- balancing the system locally means we can save £</a:t>
            </a:r>
            <a:r>
              <a:rPr lang="en-GB" dirty="0" err="1"/>
              <a:t>bns</a:t>
            </a:r>
            <a:r>
              <a:rPr lang="en-GB" dirty="0"/>
              <a:t> on upgrades that aren’t needed – saving bills.</a:t>
            </a:r>
          </a:p>
          <a:p>
            <a:r>
              <a:rPr lang="en-GB" dirty="0"/>
              <a:t>	- Coordinating across power, heat, mobility, supply, demand creates flexible </a:t>
            </a:r>
            <a:r>
              <a:rPr lang="en-GB" dirty="0" err="1"/>
              <a:t>efficicency</a:t>
            </a:r>
            <a:r>
              <a:rPr lang="en-GB" dirty="0"/>
              <a:t>.  But can only do locally.</a:t>
            </a:r>
          </a:p>
          <a:p>
            <a:endParaRPr lang="en-GB" dirty="0"/>
          </a:p>
          <a:p>
            <a:r>
              <a:rPr lang="en-GB" dirty="0"/>
              <a:t>People 	- We all live locally – and the systems need optimising for our locality and our lives</a:t>
            </a:r>
          </a:p>
          <a:p>
            <a:r>
              <a:rPr lang="en-GB" dirty="0"/>
              <a:t>	- Trust and engagement in change are better enabled locally than imposed nationally.   This is going to be incredibly important in getting to net zero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2B6EE5-A699-8E40-B9DE-15202463104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0660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rogramme Objectives translate into a set of activiti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2B6EE5-A699-8E40-B9DE-15202463104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5468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2B6EE5-A699-8E40-B9DE-15202463104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2811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776344" y="1923678"/>
            <a:ext cx="7772400" cy="513450"/>
          </a:xfrm>
          <a:prstGeom prst="rect">
            <a:avLst/>
          </a:prstGeom>
        </p:spPr>
        <p:txBody>
          <a:bodyPr vert="horz"/>
          <a:lstStyle>
            <a:lvl1pPr algn="l">
              <a:defRPr sz="280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776344" y="2666178"/>
            <a:ext cx="6400800" cy="1314450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000">
                <a:latin typeface="Arial"/>
                <a:cs typeface="Arial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F6126E-63DC-3648-A977-4054F73B7C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92950" y="4852988"/>
            <a:ext cx="2057400" cy="3016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fld id="{E06B1BC2-9257-424C-A4D7-8D8CBE31954F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7146C2-F0DB-B549-8596-C59CC48ACE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7965" y="150821"/>
            <a:ext cx="3866032" cy="733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51563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54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124156D-98B6-D241-951F-165B753850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0103" y="150821"/>
            <a:ext cx="2471083" cy="469087"/>
          </a:xfrm>
          <a:prstGeom prst="rect">
            <a:avLst/>
          </a:prstGeom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FF5C1D2C-F848-E443-82D9-2B62F55E05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92950" y="4852988"/>
            <a:ext cx="2057400" cy="301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9ED42-D052-7448-AF83-68E750C4823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77126733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23478"/>
            <a:ext cx="6480720" cy="771550"/>
          </a:xfrm>
        </p:spPr>
        <p:txBody>
          <a:bodyPr anchor="ctr"/>
          <a:lstStyle>
            <a:lvl1pPr>
              <a:defRPr sz="2400" b="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23528" y="1058862"/>
            <a:ext cx="8425185" cy="3169071"/>
          </a:xfrm>
          <a:prstGeom prst="rect">
            <a:avLst/>
          </a:prstGeom>
        </p:spPr>
        <p:txBody>
          <a:bodyPr/>
          <a:lstStyle>
            <a:lvl1pPr marL="268288" indent="-268288"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8FE5AE1-238C-3D4A-BAC6-9BD14CEB200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7048224" y="4839598"/>
            <a:ext cx="2057400" cy="3016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fld id="{1B77AABF-E942-AC4D-8982-D057F9FE18A5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6EF8F3F-5297-7248-A39A-22636DCE14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0103" y="150821"/>
            <a:ext cx="2471083" cy="469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061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F30434-FE9A-984C-8827-8A6A2B8923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EDFF3E-E98E-1044-9368-202B430B6A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0CB937-C1A0-6B40-9A83-C921DC9CD6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7FD0FD-B0D0-EA40-8A0B-A50152A442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13426F-C57B-2740-A0EA-77F92F1BB44E}" type="datetimeFigureOut">
              <a:rPr lang="en-US" smtClean="0"/>
              <a:t>11/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C93C4A-B984-2B4C-9A75-F8A30115BD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432133-8FEE-D74C-A61F-1DE4F5BD3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27428-FED5-8544-B08E-879628B3B8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6178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492" imgH="504" progId="TCLayout.ActiveDocument.1">
                  <p:embed/>
                </p:oleObj>
              </mc:Choice>
              <mc:Fallback>
                <p:oleObj name="think-cell Slide" r:id="rId4" imgW="492" imgH="504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85750" y="60723"/>
            <a:ext cx="7225394" cy="13335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900" b="1" i="0" cap="all" baseline="0">
                <a:solidFill>
                  <a:schemeClr val="accent1"/>
                </a:solidFill>
                <a:latin typeface="Avenir Next Demi Bold" panose="020B0503020202020204" pitchFamily="34" charset="0"/>
              </a:defRPr>
            </a:lvl1pPr>
          </a:lstStyle>
          <a:p>
            <a:pPr lvl="0"/>
            <a:r>
              <a:rPr lang="en-US" dirty="0"/>
              <a:t>Insert supertit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200" y="237618"/>
            <a:ext cx="8581576" cy="503633"/>
          </a:xfr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047750" y="4942560"/>
            <a:ext cx="4614934" cy="173555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800" baseline="0"/>
            </a:lvl1pPr>
          </a:lstStyle>
          <a:p>
            <a:pPr lvl="0"/>
            <a:r>
              <a:rPr lang="en-US" dirty="0"/>
              <a:t>Sources: Insert sources</a:t>
            </a:r>
            <a:endParaRPr lang="en-GB" dirty="0"/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285751" y="4612482"/>
            <a:ext cx="8582025" cy="188119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tabLst>
                <a:tab pos="217488" algn="l"/>
              </a:tabLst>
              <a:defRPr sz="800"/>
            </a:lvl1pPr>
          </a:lstStyle>
          <a:p>
            <a:pPr lvl="0"/>
            <a:r>
              <a:rPr lang="en-US" dirty="0"/>
              <a:t>Notes: Insert notes</a:t>
            </a:r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87C2A65-E3C1-4FB4-9FCF-F0E0173A929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86200" y="4806107"/>
            <a:ext cx="863736" cy="392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0852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2892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8" r:id="rId3"/>
    <p:sldLayoutId id="2147483812" r:id="rId4"/>
    <p:sldLayoutId id="2147483813" r:id="rId5"/>
  </p:sldLayoutIdLst>
  <p:transition spd="med"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MS PGothic" panose="020B0600070205080204" pitchFamily="34" charset="-128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MS PGothic" panose="020B0600070205080204" pitchFamily="34" charset="-128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MS PGothic" panose="020B0600070205080204" pitchFamily="34" charset="-128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MS PGothic" panose="020B0600070205080204" pitchFamily="34" charset="-128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MS PGothic" panose="020B0600070205080204" pitchFamily="34" charset="-128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-1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-1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-1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erdana" pitchFamily="-1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920049"/>
        </a:buClr>
        <a:buChar char="•"/>
        <a:defRPr sz="3200">
          <a:solidFill>
            <a:schemeClr val="tx1"/>
          </a:solidFill>
          <a:latin typeface="+mn-lt"/>
          <a:ea typeface="MS PGothic" panose="020B0600070205080204" pitchFamily="34" charset="-128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920049"/>
        </a:buClr>
        <a:buChar char="•"/>
        <a:defRPr sz="2800">
          <a:solidFill>
            <a:schemeClr val="tx1"/>
          </a:solidFill>
          <a:latin typeface="+mn-lt"/>
          <a:ea typeface="MS PGothic" panose="020B0600070205080204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920049"/>
        </a:buClr>
        <a:buChar char="•"/>
        <a:defRPr sz="1600">
          <a:solidFill>
            <a:schemeClr val="tx1"/>
          </a:solidFill>
          <a:latin typeface="+mn-lt"/>
          <a:ea typeface="MS PGothic" panose="020B0600070205080204" pitchFamily="34" charset="-128"/>
        </a:defRPr>
      </a:lvl3pPr>
      <a:lvl4pPr marL="1562100" indent="-228600" algn="l" rtl="0" eaLnBrk="0" fontAlgn="base" hangingPunct="0">
        <a:spcBef>
          <a:spcPct val="20000"/>
        </a:spcBef>
        <a:spcAft>
          <a:spcPct val="0"/>
        </a:spcAft>
        <a:buClr>
          <a:srgbClr val="920049"/>
        </a:buClr>
        <a:buChar char="–"/>
        <a:defRPr sz="1400">
          <a:solidFill>
            <a:schemeClr val="tx1"/>
          </a:solidFill>
          <a:latin typeface="+mn-lt"/>
          <a:ea typeface="MS PGothic" panose="020B0600070205080204" pitchFamily="34" charset="-128"/>
        </a:defRPr>
      </a:lvl4pPr>
      <a:lvl5pPr marL="1981200" indent="-228600" algn="l" rtl="0" eaLnBrk="0" fontAlgn="base" hangingPunct="0">
        <a:spcBef>
          <a:spcPct val="20000"/>
        </a:spcBef>
        <a:spcAft>
          <a:spcPct val="0"/>
        </a:spcAft>
        <a:buClr>
          <a:srgbClr val="920049"/>
        </a:buClr>
        <a:buChar char="»"/>
        <a:defRPr sz="1200" i="1">
          <a:solidFill>
            <a:schemeClr val="tx1"/>
          </a:solidFill>
          <a:latin typeface="+mn-lt"/>
          <a:ea typeface="MS PGothic" panose="020B0600070205080204" pitchFamily="34" charset="-128"/>
        </a:defRPr>
      </a:lvl5pPr>
      <a:lvl6pPr marL="2438400" indent="-228600" algn="l" rtl="0" fontAlgn="base">
        <a:spcBef>
          <a:spcPct val="20000"/>
        </a:spcBef>
        <a:spcAft>
          <a:spcPct val="0"/>
        </a:spcAft>
        <a:buClr>
          <a:srgbClr val="920049"/>
        </a:buClr>
        <a:buChar char="»"/>
        <a:defRPr sz="1200" i="1">
          <a:solidFill>
            <a:schemeClr val="tx1"/>
          </a:solidFill>
          <a:latin typeface="+mn-lt"/>
          <a:ea typeface="ＭＳ Ｐゴシック" pitchFamily="-1" charset="-128"/>
        </a:defRPr>
      </a:lvl6pPr>
      <a:lvl7pPr marL="2895600" indent="-228600" algn="l" rtl="0" fontAlgn="base">
        <a:spcBef>
          <a:spcPct val="20000"/>
        </a:spcBef>
        <a:spcAft>
          <a:spcPct val="0"/>
        </a:spcAft>
        <a:buClr>
          <a:srgbClr val="920049"/>
        </a:buClr>
        <a:buChar char="»"/>
        <a:defRPr sz="1200" i="1">
          <a:solidFill>
            <a:schemeClr val="tx1"/>
          </a:solidFill>
          <a:latin typeface="+mn-lt"/>
          <a:ea typeface="ＭＳ Ｐゴシック" pitchFamily="-1" charset="-128"/>
        </a:defRPr>
      </a:lvl7pPr>
      <a:lvl8pPr marL="3352800" indent="-228600" algn="l" rtl="0" fontAlgn="base">
        <a:spcBef>
          <a:spcPct val="20000"/>
        </a:spcBef>
        <a:spcAft>
          <a:spcPct val="0"/>
        </a:spcAft>
        <a:buClr>
          <a:srgbClr val="920049"/>
        </a:buClr>
        <a:buChar char="»"/>
        <a:defRPr sz="1200" i="1">
          <a:solidFill>
            <a:schemeClr val="tx1"/>
          </a:solidFill>
          <a:latin typeface="+mn-lt"/>
          <a:ea typeface="ＭＳ Ｐゴシック" pitchFamily="-1" charset="-128"/>
        </a:defRPr>
      </a:lvl8pPr>
      <a:lvl9pPr marL="3810000" indent="-228600" algn="l" rtl="0" fontAlgn="base">
        <a:spcBef>
          <a:spcPct val="20000"/>
        </a:spcBef>
        <a:spcAft>
          <a:spcPct val="0"/>
        </a:spcAft>
        <a:buClr>
          <a:srgbClr val="920049"/>
        </a:buClr>
        <a:buChar char="»"/>
        <a:defRPr sz="1200" i="1">
          <a:solidFill>
            <a:schemeClr val="tx1"/>
          </a:solidFill>
          <a:latin typeface="+mn-lt"/>
          <a:ea typeface="ＭＳ Ｐゴシック" pitchFamily="-1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creativecommons.org/licenses/by-sa/3.0/" TargetMode="External"/><Relationship Id="rId4" Type="http://schemas.openxmlformats.org/officeDocument/2006/relationships/hyperlink" Target="http://www.thebluediamondgallery.com/wooden-tile/l/learning.html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mailto:rob.saunders@innovateuk.ukri.org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creativecommons.org/licenses/by-nc-nd/3.0/" TargetMode="External"/><Relationship Id="rId4" Type="http://schemas.openxmlformats.org/officeDocument/2006/relationships/hyperlink" Target="http://jobsanger.blogspot.com/2016/05/the-green-energy-revolution-is-already.html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8.png"/><Relationship Id="rId3" Type="http://schemas.openxmlformats.org/officeDocument/2006/relationships/image" Target="../media/image18.jpe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jpeg"/><Relationship Id="rId1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776344" y="1280368"/>
            <a:ext cx="7772400" cy="513450"/>
          </a:xfrm>
        </p:spPr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Prospering from the Energy Revolution:</a:t>
            </a:r>
            <a:br>
              <a:rPr lang="en-GB" dirty="0">
                <a:solidFill>
                  <a:schemeClr val="tx1"/>
                </a:solidFill>
              </a:rPr>
            </a:br>
            <a:r>
              <a:rPr lang="en-GB" sz="2400" dirty="0">
                <a:solidFill>
                  <a:schemeClr val="tx1"/>
                </a:solidFill>
              </a:rPr>
              <a:t>Building local foundations for Net Zero. 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Rob Saunders</a:t>
            </a:r>
          </a:p>
          <a:p>
            <a:r>
              <a:rPr lang="en-GB" dirty="0"/>
              <a:t>PFER Challenge Director, UKRI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29ED42-D052-7448-AF83-68E750C48239}" type="slidenum">
              <a:rPr lang="en-US" altLang="en-US" smtClean="0"/>
              <a:pPr>
                <a:defRPr/>
              </a:pPr>
              <a:t>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5914206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1B77AABF-E942-AC4D-8982-D057F9FE18A5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pic>
        <p:nvPicPr>
          <p:cNvPr id="4098" name="Picture 2" descr="https://www.mhpa.co.uk/g_images/large/2016-08-19-14-11-59-the-milford-haven-waterway-273-1-image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62" y="320974"/>
            <a:ext cx="6573580" cy="4367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6315059" y="1342964"/>
            <a:ext cx="2294952" cy="2764290"/>
            <a:chOff x="6774653" y="1424351"/>
            <a:chExt cx="2294952" cy="276429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74653" y="1424351"/>
              <a:ext cx="2294952" cy="2764290"/>
            </a:xfrm>
            <a:prstGeom prst="rect">
              <a:avLst/>
            </a:prstGeom>
          </p:spPr>
        </p:pic>
        <p:sp>
          <p:nvSpPr>
            <p:cNvPr id="6" name="Oval 5"/>
            <p:cNvSpPr/>
            <p:nvPr/>
          </p:nvSpPr>
          <p:spPr bwMode="auto">
            <a:xfrm>
              <a:off x="7688620" y="3533127"/>
              <a:ext cx="282459" cy="287246"/>
            </a:xfrm>
            <a:prstGeom prst="ellips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" pitchFamily="-1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7362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51E1D5-D5B8-4FCE-B8E7-947B7DF0E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55BC8D-3877-4929-AFDD-48FC7D7FDB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ED5CB7-ADA3-41A2-AB6B-2D00C38108D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1B77AABF-E942-AC4D-8982-D057F9FE18A5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  <p:pic>
        <p:nvPicPr>
          <p:cNvPr id="6" name="Picture 5" descr="Calendar&#10;&#10;Description automatically generated">
            <a:extLst>
              <a:ext uri="{FF2B5EF4-FFF2-40B4-BE49-F238E27FC236}">
                <a16:creationId xmlns:a16="http://schemas.microsoft.com/office/drawing/2014/main" id="{31F7AE72-39E4-4BBF-A5AD-39D312A463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B12E9F9-7839-4E5C-840F-EEC5FEA0B57D}"/>
              </a:ext>
            </a:extLst>
          </p:cNvPr>
          <p:cNvSpPr txBox="1"/>
          <p:nvPr/>
        </p:nvSpPr>
        <p:spPr>
          <a:xfrm>
            <a:off x="0" y="4931327"/>
            <a:ext cx="9144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>
                <a:hlinkClick r:id="rId4" tooltip="http://www.thebluediamondgallery.com/wooden-tile/l/learning.html"/>
              </a:rPr>
              <a:t>This Photo</a:t>
            </a:r>
            <a:r>
              <a:rPr lang="en-GB" sz="900" dirty="0"/>
              <a:t> by Unknown Author is licensed under </a:t>
            </a:r>
            <a:r>
              <a:rPr lang="en-GB" sz="900" dirty="0">
                <a:hlinkClick r:id="rId5" tooltip="https://creativecommons.org/licenses/by-sa/3.0/"/>
              </a:rPr>
              <a:t>CC BY-SA</a:t>
            </a: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24744195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ankyou</a:t>
            </a:r>
            <a:br>
              <a:rPr lang="en-GB" dirty="0"/>
            </a:br>
            <a:br>
              <a:rPr lang="en-GB" dirty="0"/>
            </a:br>
            <a:r>
              <a:rPr lang="en-GB" sz="1800" dirty="0"/>
              <a:t>@</a:t>
            </a:r>
            <a:r>
              <a:rPr lang="en-GB" sz="1800" dirty="0" err="1"/>
              <a:t>RobS_energy</a:t>
            </a:r>
            <a:br>
              <a:rPr lang="en-GB" sz="1800" dirty="0"/>
            </a:br>
            <a:r>
              <a:rPr lang="en-GB" sz="1800" dirty="0">
                <a:hlinkClick r:id="rId2"/>
              </a:rPr>
              <a:t>rob.saunders@innovateuk.ukri.org</a:t>
            </a:r>
            <a:br>
              <a:rPr lang="en-GB" dirty="0"/>
            </a:b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086600" y="4840288"/>
            <a:ext cx="2057400" cy="3016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B77AABF-E942-AC4D-8982-D057F9FE18A5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1139514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C5631B3-7575-4BFB-852E-692C741FBF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29ED42-D052-7448-AF83-68E750C48239}" type="slidenum">
              <a:rPr lang="en-US" altLang="en-US" smtClean="0"/>
              <a:pPr>
                <a:defRPr/>
              </a:pPr>
              <a:t>2</a:t>
            </a:fld>
            <a:endParaRPr lang="en-US" altLang="en-US"/>
          </a:p>
        </p:txBody>
      </p:sp>
      <p:pic>
        <p:nvPicPr>
          <p:cNvPr id="4" name="Picture 3" descr="A picture containing chart&#10;&#10;Description automatically generated">
            <a:extLst>
              <a:ext uri="{FF2B5EF4-FFF2-40B4-BE49-F238E27FC236}">
                <a16:creationId xmlns:a16="http://schemas.microsoft.com/office/drawing/2014/main" id="{E7D552D7-3D24-451E-B328-64C24DF09F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88526" y="15920"/>
            <a:ext cx="8896865" cy="51435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6F9C592-EF2B-4BAD-B706-39D393646E25}"/>
              </a:ext>
            </a:extLst>
          </p:cNvPr>
          <p:cNvSpPr txBox="1"/>
          <p:nvPr/>
        </p:nvSpPr>
        <p:spPr>
          <a:xfrm>
            <a:off x="170119" y="4919161"/>
            <a:ext cx="8896865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500" dirty="0">
                <a:hlinkClick r:id="rId4" tooltip="http://jobsanger.blogspot.com/2016/05/the-green-energy-revolution-is-already.html"/>
              </a:rPr>
              <a:t>This Photo</a:t>
            </a:r>
            <a:r>
              <a:rPr lang="en-GB" sz="500" dirty="0"/>
              <a:t> by Unknown Author is licensed under </a:t>
            </a:r>
            <a:r>
              <a:rPr lang="en-GB" sz="500" dirty="0">
                <a:hlinkClick r:id="rId5" tooltip="https://creativecommons.org/licenses/by-nc-nd/3.0/"/>
              </a:rPr>
              <a:t>CC BY-NC-ND</a:t>
            </a:r>
            <a:endParaRPr lang="en-GB" sz="5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E5BDB59-F951-4671-B487-5C078E687860}"/>
              </a:ext>
            </a:extLst>
          </p:cNvPr>
          <p:cNvSpPr txBox="1"/>
          <p:nvPr/>
        </p:nvSpPr>
        <p:spPr>
          <a:xfrm>
            <a:off x="510803" y="232648"/>
            <a:ext cx="7610847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0" dirty="0">
                <a:latin typeface="Stencil" panose="040409050D0802020404" pitchFamily="82" charset="0"/>
              </a:rPr>
              <a:t>The Revolution is </a:t>
            </a:r>
            <a:r>
              <a:rPr lang="en-GB" sz="13800" dirty="0">
                <a:latin typeface="Stencil" panose="040409050D0802020404" pitchFamily="82" charset="0"/>
              </a:rPr>
              <a:t>Now!</a:t>
            </a:r>
            <a:endParaRPr lang="en-GB" sz="8000" dirty="0">
              <a:latin typeface="Stencil" panose="040409050D0802020404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204172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E2B5356-BEE5-4C4B-8ADA-AAD2D3ED525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585" r="2" b="19947"/>
          <a:stretch/>
        </p:blipFill>
        <p:spPr>
          <a:xfrm>
            <a:off x="6370" y="10"/>
            <a:ext cx="9143980" cy="5143490"/>
          </a:xfrm>
          <a:prstGeom prst="rect">
            <a:avLst/>
          </a:prstGeom>
          <a:noFill/>
        </p:spPr>
      </p:pic>
      <p:sp>
        <p:nvSpPr>
          <p:cNvPr id="2" name="Slide Number Placeholder 1" hidden="1">
            <a:extLst>
              <a:ext uri="{FF2B5EF4-FFF2-40B4-BE49-F238E27FC236}">
                <a16:creationId xmlns:a16="http://schemas.microsoft.com/office/drawing/2014/main" id="{AA618181-5CBB-4F49-AEC7-324E9280188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92950" y="4852988"/>
            <a:ext cx="2057400" cy="301625"/>
          </a:xfrm>
          <a:prstGeom prst="rect">
            <a:avLst/>
          </a:prstGeom>
        </p:spPr>
        <p:txBody>
          <a:bodyPr/>
          <a:lstStyle/>
          <a:p>
            <a:pPr>
              <a:spcAft>
                <a:spcPts val="600"/>
              </a:spcAft>
              <a:defRPr/>
            </a:pPr>
            <a:fld id="{CA29ED42-D052-7448-AF83-68E750C48239}" type="slidenum">
              <a:rPr lang="en-US" altLang="en-US" smtClean="0"/>
              <a:pPr>
                <a:spcAft>
                  <a:spcPts val="600"/>
                </a:spcAft>
                <a:defRPr/>
              </a:pPr>
              <a:t>3</a:t>
            </a:fld>
            <a:endParaRPr lang="en-US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C88344D-3E2E-4C37-B72A-3E36706225DC}"/>
              </a:ext>
            </a:extLst>
          </p:cNvPr>
          <p:cNvSpPr txBox="1"/>
          <p:nvPr/>
        </p:nvSpPr>
        <p:spPr>
          <a:xfrm>
            <a:off x="346841" y="2523787"/>
            <a:ext cx="356931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5400" b="1" dirty="0">
                <a:solidFill>
                  <a:schemeClr val="bg1"/>
                </a:solidFill>
              </a:rPr>
              <a:t>WHY</a:t>
            </a:r>
          </a:p>
          <a:p>
            <a:r>
              <a:rPr lang="en-GB" sz="5400" b="1" dirty="0">
                <a:solidFill>
                  <a:schemeClr val="bg1"/>
                </a:solidFill>
              </a:rPr>
              <a:t>LOCAL ?</a:t>
            </a:r>
          </a:p>
        </p:txBody>
      </p:sp>
    </p:spTree>
    <p:extLst>
      <p:ext uri="{BB962C8B-B14F-4D97-AF65-F5344CB8AC3E}">
        <p14:creationId xmlns:p14="http://schemas.microsoft.com/office/powerpoint/2010/main" val="725892962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23477"/>
            <a:ext cx="6480720" cy="982419"/>
          </a:xfrm>
        </p:spPr>
        <p:txBody>
          <a:bodyPr/>
          <a:lstStyle/>
          <a:p>
            <a:r>
              <a:rPr lang="en-GB" dirty="0"/>
              <a:t>Prospering from the Energy Revolu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338D540-3022-C543-AB04-E47434CC152E}"/>
              </a:ext>
            </a:extLst>
          </p:cNvPr>
          <p:cNvSpPr/>
          <p:nvPr/>
        </p:nvSpPr>
        <p:spPr>
          <a:xfrm>
            <a:off x="834187" y="2058204"/>
            <a:ext cx="7680000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867" dirty="0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Future energy model proving </a:t>
            </a:r>
          </a:p>
        </p:txBody>
      </p:sp>
      <p:graphicFrame>
        <p:nvGraphicFramePr>
          <p:cNvPr id="46" name="Diagram 45"/>
          <p:cNvGraphicFramePr/>
          <p:nvPr>
            <p:extLst>
              <p:ext uri="{D42A27DB-BD31-4B8C-83A1-F6EECF244321}">
                <p14:modId xmlns:p14="http://schemas.microsoft.com/office/powerpoint/2010/main" val="1437734294"/>
              </p:ext>
            </p:extLst>
          </p:nvPr>
        </p:nvGraphicFramePr>
        <p:xfrm>
          <a:off x="97509" y="1467134"/>
          <a:ext cx="3580263" cy="27613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7" name="Right Arrow 46"/>
          <p:cNvSpPr/>
          <p:nvPr/>
        </p:nvSpPr>
        <p:spPr bwMode="auto">
          <a:xfrm>
            <a:off x="2422442" y="2599577"/>
            <a:ext cx="1255330" cy="512255"/>
          </a:xfrm>
          <a:prstGeom prst="rightArrow">
            <a:avLst>
              <a:gd name="adj1" fmla="val 50000"/>
              <a:gd name="adj2" fmla="val 74299"/>
            </a:avLst>
          </a:prstGeom>
          <a:solidFill>
            <a:schemeClr val="tx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dirty="0">
                <a:solidFill>
                  <a:schemeClr val="bg1"/>
                </a:solidFill>
              </a:rPr>
              <a:t>Activiti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77772" y="1467133"/>
            <a:ext cx="5402478" cy="3024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35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4591231" y="1098504"/>
            <a:ext cx="423701" cy="450513"/>
            <a:chOff x="4517407" y="1514904"/>
            <a:chExt cx="1071349" cy="1071349"/>
          </a:xfrm>
          <a:solidFill>
            <a:srgbClr val="00B050"/>
          </a:solidFill>
        </p:grpSpPr>
        <p:sp>
          <p:nvSpPr>
            <p:cNvPr id="7" name="Oval 6"/>
            <p:cNvSpPr/>
            <p:nvPr/>
          </p:nvSpPr>
          <p:spPr bwMode="auto">
            <a:xfrm>
              <a:off x="4517407" y="1514904"/>
              <a:ext cx="1071349" cy="1071349"/>
            </a:xfrm>
            <a:prstGeom prst="ellipse">
              <a:avLst/>
            </a:prstGeom>
            <a:grpFill/>
            <a:ln w="508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" pitchFamily="-1" charset="0"/>
              </a:endParaRPr>
            </a:p>
          </p:txBody>
        </p:sp>
        <p:sp>
          <p:nvSpPr>
            <p:cNvPr id="6" name="5-Point Star 5"/>
            <p:cNvSpPr/>
            <p:nvPr/>
          </p:nvSpPr>
          <p:spPr bwMode="auto">
            <a:xfrm>
              <a:off x="4664120" y="1589964"/>
              <a:ext cx="777922" cy="777922"/>
            </a:xfrm>
            <a:prstGeom prst="star5">
              <a:avLst/>
            </a:prstGeom>
            <a:solidFill>
              <a:schemeClr val="bg1"/>
            </a:solidFill>
            <a:ln w="508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" pitchFamily="-1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 portfolio of </a:t>
            </a:r>
            <a:r>
              <a:rPr lang="en-GB" dirty="0" err="1"/>
              <a:t>groundbreaking</a:t>
            </a:r>
            <a:r>
              <a:rPr lang="en-GB" dirty="0"/>
              <a:t> local projec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1B77AABF-E942-AC4D-8982-D057F9FE18A5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  <p:grpSp>
        <p:nvGrpSpPr>
          <p:cNvPr id="12" name="Group 11"/>
          <p:cNvGrpSpPr/>
          <p:nvPr/>
        </p:nvGrpSpPr>
        <p:grpSpPr>
          <a:xfrm>
            <a:off x="4632795" y="3712425"/>
            <a:ext cx="423701" cy="450513"/>
            <a:chOff x="4517407" y="2436125"/>
            <a:chExt cx="539089" cy="573203"/>
          </a:xfrm>
        </p:grpSpPr>
        <p:sp>
          <p:nvSpPr>
            <p:cNvPr id="10" name="Oval 9"/>
            <p:cNvSpPr/>
            <p:nvPr/>
          </p:nvSpPr>
          <p:spPr bwMode="auto">
            <a:xfrm>
              <a:off x="4517407" y="2436125"/>
              <a:ext cx="539089" cy="573203"/>
            </a:xfrm>
            <a:prstGeom prst="ellipse">
              <a:avLst/>
            </a:prstGeom>
            <a:solidFill>
              <a:srgbClr val="C00000"/>
            </a:solidFill>
            <a:ln w="508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" pitchFamily="-1" charset="0"/>
              </a:endParaRPr>
            </a:p>
          </p:txBody>
        </p:sp>
        <p:sp>
          <p:nvSpPr>
            <p:cNvPr id="11" name="5-Point Star 10"/>
            <p:cNvSpPr/>
            <p:nvPr/>
          </p:nvSpPr>
          <p:spPr bwMode="auto">
            <a:xfrm>
              <a:off x="4591231" y="2476284"/>
              <a:ext cx="391440" cy="416211"/>
            </a:xfrm>
            <a:prstGeom prst="star5">
              <a:avLst/>
            </a:prstGeom>
            <a:solidFill>
              <a:schemeClr val="bg1"/>
            </a:solidFill>
            <a:ln w="508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" pitchFamily="-1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5349923" y="1098976"/>
            <a:ext cx="281317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Demonstrators (half-way through)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349923" y="3726295"/>
            <a:ext cx="289332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Detailed Designs (just starting)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552231" y="750403"/>
            <a:ext cx="7841367" cy="4291224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pitchFamily="-1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45499C-8434-405D-8EF2-952AC5D5D9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422" y="763467"/>
            <a:ext cx="3298997" cy="426167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DA5C9AB-FF8A-4554-9278-8E888DE81C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1941" y="1378853"/>
            <a:ext cx="789519" cy="35363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1CCA8B3-75FE-4557-88C7-3D04EC55B3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1941" y="1814134"/>
            <a:ext cx="1514866" cy="39646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62003E4-ECEC-4B4D-A7EF-941D86801C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39431" y="2317588"/>
            <a:ext cx="733368" cy="43388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9977CA5-B8F2-471A-A069-4DC8CFAB66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39431" y="2898930"/>
            <a:ext cx="1031441" cy="32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9732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monstrating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1B77AABF-E942-AC4D-8982-D057F9FE18A5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EF28ED-A045-A34A-AB8E-28E103E37BAF}"/>
              </a:ext>
            </a:extLst>
          </p:cNvPr>
          <p:cNvSpPr/>
          <p:nvPr/>
        </p:nvSpPr>
        <p:spPr>
          <a:xfrm>
            <a:off x="679684" y="1260000"/>
            <a:ext cx="2592000" cy="69965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D5750B0-B012-274C-A47E-01C9A3CEC8CD}"/>
              </a:ext>
            </a:extLst>
          </p:cNvPr>
          <p:cNvSpPr/>
          <p:nvPr/>
        </p:nvSpPr>
        <p:spPr>
          <a:xfrm>
            <a:off x="3439467" y="1260000"/>
            <a:ext cx="2592000" cy="69965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B7D3FE5-C4C9-714D-B58C-6D3030425D34}"/>
              </a:ext>
            </a:extLst>
          </p:cNvPr>
          <p:cNvSpPr/>
          <p:nvPr/>
        </p:nvSpPr>
        <p:spPr>
          <a:xfrm>
            <a:off x="6173999" y="1260000"/>
            <a:ext cx="2592000" cy="69965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9615F72-F991-9E41-8033-68FF6575AAD7}"/>
              </a:ext>
            </a:extLst>
          </p:cNvPr>
          <p:cNvSpPr/>
          <p:nvPr/>
        </p:nvSpPr>
        <p:spPr>
          <a:xfrm>
            <a:off x="3611545" y="1353539"/>
            <a:ext cx="19209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Integrated intelligently to please consumer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976DD72-CB03-D541-B3B8-FEC414EBC8CB}"/>
              </a:ext>
            </a:extLst>
          </p:cNvPr>
          <p:cNvSpPr/>
          <p:nvPr/>
        </p:nvSpPr>
        <p:spPr>
          <a:xfrm>
            <a:off x="6292919" y="1353539"/>
            <a:ext cx="217139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In scalable, replicable and investable model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8A6752C-9116-AC45-9415-D41357C2220F}"/>
              </a:ext>
            </a:extLst>
          </p:cNvPr>
          <p:cNvSpPr txBox="1"/>
          <p:nvPr/>
        </p:nvSpPr>
        <p:spPr>
          <a:xfrm>
            <a:off x="786440" y="1353539"/>
            <a:ext cx="23224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  <a:latin typeface="+mj-lt"/>
              </a:rPr>
              <a:t>Town-Scale power, heat and mobility services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DD492EC-01AE-B84B-AD10-91591BAEE3B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6"/>
          <a:stretch/>
        </p:blipFill>
        <p:spPr>
          <a:xfrm>
            <a:off x="6173999" y="1958400"/>
            <a:ext cx="2592000" cy="109682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8C1D3BC-8A9E-8946-821A-A536CFB6B07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3999" y="3106800"/>
            <a:ext cx="828000" cy="118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2EA85CC-C677-6044-9DEA-7956C5D8518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55999" y="3106800"/>
            <a:ext cx="828000" cy="118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700CBF4-8401-E04D-A948-2C0E30CC912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37999" y="3106800"/>
            <a:ext cx="828000" cy="1188000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57A0CDE4-019F-6C41-89E4-1B4E17780F96}"/>
              </a:ext>
            </a:extLst>
          </p:cNvPr>
          <p:cNvSpPr/>
          <p:nvPr/>
        </p:nvSpPr>
        <p:spPr>
          <a:xfrm>
            <a:off x="7378617" y="2041296"/>
            <a:ext cx="990281" cy="990281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6D677CB-9CF9-EF47-9921-A346405702D1}"/>
              </a:ext>
            </a:extLst>
          </p:cNvPr>
          <p:cNvSpPr/>
          <p:nvPr/>
        </p:nvSpPr>
        <p:spPr>
          <a:xfrm>
            <a:off x="6211336" y="3215899"/>
            <a:ext cx="753326" cy="753326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1A07756-F7C1-BD47-836E-1B87831424F0}"/>
              </a:ext>
            </a:extLst>
          </p:cNvPr>
          <p:cNvSpPr/>
          <p:nvPr/>
        </p:nvSpPr>
        <p:spPr>
          <a:xfrm>
            <a:off x="8005419" y="3276066"/>
            <a:ext cx="693159" cy="69315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B52FA53-BFFC-CE47-989B-8E2E2D984021}"/>
              </a:ext>
            </a:extLst>
          </p:cNvPr>
          <p:cNvCxnSpPr>
            <a:cxnSpLocks/>
            <a:stCxn id="16" idx="3"/>
          </p:cNvCxnSpPr>
          <p:nvPr/>
        </p:nvCxnSpPr>
        <p:spPr>
          <a:xfrm flipH="1">
            <a:off x="6908742" y="2886554"/>
            <a:ext cx="614898" cy="48941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D25306B-937F-D742-9548-DCF15485B982}"/>
              </a:ext>
            </a:extLst>
          </p:cNvPr>
          <p:cNvCxnSpPr>
            <a:cxnSpLocks/>
            <a:stCxn id="16" idx="5"/>
            <a:endCxn id="18" idx="0"/>
          </p:cNvCxnSpPr>
          <p:nvPr/>
        </p:nvCxnSpPr>
        <p:spPr>
          <a:xfrm>
            <a:off x="8223875" y="2886554"/>
            <a:ext cx="128124" cy="38951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8C1E733-67FE-CC43-B8FA-E744950DF76A}"/>
              </a:ext>
            </a:extLst>
          </p:cNvPr>
          <p:cNvCxnSpPr>
            <a:cxnSpLocks/>
            <a:stCxn id="36" idx="0"/>
            <a:endCxn id="26" idx="4"/>
          </p:cNvCxnSpPr>
          <p:nvPr/>
        </p:nvCxnSpPr>
        <p:spPr>
          <a:xfrm flipH="1" flipV="1">
            <a:off x="7722833" y="3056100"/>
            <a:ext cx="1976" cy="17700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23B1691D-DDC8-B241-B268-F1D65CC48D49}"/>
              </a:ext>
            </a:extLst>
          </p:cNvPr>
          <p:cNvSpPr/>
          <p:nvPr/>
        </p:nvSpPr>
        <p:spPr>
          <a:xfrm>
            <a:off x="7440357" y="2095410"/>
            <a:ext cx="866801" cy="882052"/>
          </a:xfrm>
          <a:prstGeom prst="ellipse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5C8C93B-2AEB-5842-8640-EE1B36A3AB1C}"/>
              </a:ext>
            </a:extLst>
          </p:cNvPr>
          <p:cNvCxnSpPr>
            <a:cxnSpLocks/>
            <a:stCxn id="16" idx="2"/>
          </p:cNvCxnSpPr>
          <p:nvPr/>
        </p:nvCxnSpPr>
        <p:spPr>
          <a:xfrm flipH="1" flipV="1">
            <a:off x="7051143" y="2463797"/>
            <a:ext cx="327474" cy="7264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0412BA6B-7248-B340-B045-93F2AF860248}"/>
              </a:ext>
            </a:extLst>
          </p:cNvPr>
          <p:cNvSpPr/>
          <p:nvPr/>
        </p:nvSpPr>
        <p:spPr>
          <a:xfrm>
            <a:off x="7471793" y="2846630"/>
            <a:ext cx="85111" cy="8511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7831CA6-C21C-344E-B5D8-59DD83E2DDC6}"/>
              </a:ext>
            </a:extLst>
          </p:cNvPr>
          <p:cNvSpPr/>
          <p:nvPr/>
        </p:nvSpPr>
        <p:spPr>
          <a:xfrm>
            <a:off x="6860974" y="3340406"/>
            <a:ext cx="85111" cy="8511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 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627E40E-982F-C140-801A-D95B84D2D819}"/>
              </a:ext>
            </a:extLst>
          </p:cNvPr>
          <p:cNvSpPr/>
          <p:nvPr/>
        </p:nvSpPr>
        <p:spPr>
          <a:xfrm>
            <a:off x="7680277" y="2970989"/>
            <a:ext cx="85111" cy="8511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 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50693734-0E00-4C4C-A78D-A226478BFFEC}"/>
              </a:ext>
            </a:extLst>
          </p:cNvPr>
          <p:cNvSpPr/>
          <p:nvPr/>
        </p:nvSpPr>
        <p:spPr>
          <a:xfrm>
            <a:off x="8177711" y="2839316"/>
            <a:ext cx="85111" cy="8511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 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08F7648-D981-2C49-A9D0-4919EC6B3923}"/>
              </a:ext>
            </a:extLst>
          </p:cNvPr>
          <p:cNvSpPr/>
          <p:nvPr/>
        </p:nvSpPr>
        <p:spPr>
          <a:xfrm>
            <a:off x="7332805" y="2491844"/>
            <a:ext cx="85111" cy="8511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 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C3E8F9D2-BD9B-B949-A7F1-F40657BFB5D8}"/>
              </a:ext>
            </a:extLst>
          </p:cNvPr>
          <p:cNvSpPr/>
          <p:nvPr/>
        </p:nvSpPr>
        <p:spPr>
          <a:xfrm>
            <a:off x="7018252" y="2433322"/>
            <a:ext cx="85111" cy="8511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 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3D1F05D2-B10A-0C43-9326-E8204FA30D73}"/>
              </a:ext>
            </a:extLst>
          </p:cNvPr>
          <p:cNvSpPr/>
          <p:nvPr/>
        </p:nvSpPr>
        <p:spPr>
          <a:xfrm>
            <a:off x="8313042" y="3237994"/>
            <a:ext cx="85111" cy="8511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 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FA6B741-B323-054C-93A9-9896A5543F78}"/>
              </a:ext>
            </a:extLst>
          </p:cNvPr>
          <p:cNvSpPr/>
          <p:nvPr/>
        </p:nvSpPr>
        <p:spPr>
          <a:xfrm>
            <a:off x="7486698" y="2142567"/>
            <a:ext cx="774119" cy="787739"/>
          </a:xfrm>
          <a:prstGeom prst="ellipse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3EFD4A98-C7AA-B44B-943F-8E32FA6B3C2E}"/>
              </a:ext>
            </a:extLst>
          </p:cNvPr>
          <p:cNvSpPr/>
          <p:nvPr/>
        </p:nvSpPr>
        <p:spPr>
          <a:xfrm>
            <a:off x="6255397" y="3257515"/>
            <a:ext cx="649907" cy="661342"/>
          </a:xfrm>
          <a:prstGeom prst="ellipse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EC62A70C-9623-9F48-AFE0-74B8B17AC3FE}"/>
              </a:ext>
            </a:extLst>
          </p:cNvPr>
          <p:cNvSpPr/>
          <p:nvPr/>
        </p:nvSpPr>
        <p:spPr>
          <a:xfrm>
            <a:off x="6290142" y="3292872"/>
            <a:ext cx="580416" cy="590628"/>
          </a:xfrm>
          <a:prstGeom prst="ellipse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D096715-F955-9945-B897-2578138C6A6B}"/>
              </a:ext>
            </a:extLst>
          </p:cNvPr>
          <p:cNvSpPr/>
          <p:nvPr/>
        </p:nvSpPr>
        <p:spPr>
          <a:xfrm>
            <a:off x="7086617" y="3162111"/>
            <a:ext cx="753326" cy="753326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7E8A179-3BB8-4442-BC60-F16785BD24B9}"/>
              </a:ext>
            </a:extLst>
          </p:cNvPr>
          <p:cNvSpPr/>
          <p:nvPr/>
        </p:nvSpPr>
        <p:spPr>
          <a:xfrm>
            <a:off x="7165423" y="3239084"/>
            <a:ext cx="580416" cy="590628"/>
          </a:xfrm>
          <a:prstGeom prst="ellipse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3FE8CDBC-656B-3841-BDE9-64ED8C79434F}"/>
              </a:ext>
            </a:extLst>
          </p:cNvPr>
          <p:cNvSpPr/>
          <p:nvPr/>
        </p:nvSpPr>
        <p:spPr>
          <a:xfrm>
            <a:off x="7682253" y="3233104"/>
            <a:ext cx="85111" cy="8511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 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0B1ACCF0-FD8B-1143-B940-57BB7BC83D3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9684" y="1959655"/>
            <a:ext cx="2592000" cy="23400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AA714BCF-C143-2A4C-9DA8-DCDDC458CA8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9467" y="1959655"/>
            <a:ext cx="2592000" cy="23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101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/>
      <p:bldP spid="16" grpId="0" animBg="1"/>
      <p:bldP spid="17" grpId="0" animBg="1"/>
      <p:bldP spid="18" grpId="0" animBg="1"/>
      <p:bldP spid="22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F2CBEB8-0F51-4C94-940D-1F25EFEB04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99" y="4355035"/>
            <a:ext cx="9144000" cy="801742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86409C31-B244-4974-876F-7A1E3CCA5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461" y="23802"/>
            <a:ext cx="6480720" cy="771550"/>
          </a:xfrm>
        </p:spPr>
        <p:txBody>
          <a:bodyPr/>
          <a:lstStyle/>
          <a:p>
            <a:r>
              <a:rPr lang="en-GB" dirty="0"/>
              <a:t>Around Oxford:  Complementary approach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09FB1CE-A3A9-4D23-8268-C08745FC8B4D}"/>
              </a:ext>
            </a:extLst>
          </p:cNvPr>
          <p:cNvSpPr txBox="1"/>
          <p:nvPr/>
        </p:nvSpPr>
        <p:spPr>
          <a:xfrm>
            <a:off x="3375855" y="790408"/>
            <a:ext cx="2327130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400" b="1" dirty="0"/>
              <a:t>EV charging at scale</a:t>
            </a:r>
            <a:r>
              <a:rPr lang="en-GB" sz="1400" dirty="0"/>
              <a:t>: </a:t>
            </a:r>
          </a:p>
          <a:p>
            <a:pPr>
              <a:spcAft>
                <a:spcPts val="600"/>
              </a:spcAft>
            </a:pPr>
            <a:r>
              <a:rPr lang="en-GB" sz="1400" dirty="0"/>
              <a:t>25MW ultra-rapid charging for private cars &amp; city fleet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DF8F79-43FD-47AF-87BB-CB39C6D8FBB3}"/>
              </a:ext>
            </a:extLst>
          </p:cNvPr>
          <p:cNvSpPr txBox="1"/>
          <p:nvPr/>
        </p:nvSpPr>
        <p:spPr>
          <a:xfrm>
            <a:off x="669911" y="784200"/>
            <a:ext cx="218810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400" b="1" dirty="0"/>
              <a:t>Hybrid Grid-scale storag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3AAA52-B54A-447D-937F-76610F2C2D1E}"/>
              </a:ext>
            </a:extLst>
          </p:cNvPr>
          <p:cNvSpPr txBox="1"/>
          <p:nvPr/>
        </p:nvSpPr>
        <p:spPr>
          <a:xfrm>
            <a:off x="6045601" y="794338"/>
            <a:ext cx="2393549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400" b="1" dirty="0"/>
              <a:t>Ground source heat pumps </a:t>
            </a:r>
            <a:r>
              <a:rPr lang="en-GB" sz="1400" dirty="0"/>
              <a:t>Novel shared loop + ‘shoebox’ HPs.</a:t>
            </a:r>
            <a:endParaRPr lang="en-GB" sz="1400" b="1" dirty="0"/>
          </a:p>
        </p:txBody>
      </p:sp>
      <p:pic>
        <p:nvPicPr>
          <p:cNvPr id="11270" name="Picture 6" descr="Image result for power transmission line icon">
            <a:extLst>
              <a:ext uri="{FF2B5EF4-FFF2-40B4-BE49-F238E27FC236}">
                <a16:creationId xmlns:a16="http://schemas.microsoft.com/office/drawing/2014/main" id="{7AF4C963-63A9-4F59-AC42-BB867E23DD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4328" y="3384448"/>
            <a:ext cx="991487" cy="991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2" name="Picture 8" descr="Image result for power  line icon">
            <a:extLst>
              <a:ext uri="{FF2B5EF4-FFF2-40B4-BE49-F238E27FC236}">
                <a16:creationId xmlns:a16="http://schemas.microsoft.com/office/drawing/2014/main" id="{8C0348A9-1F62-45A0-A4F2-6A44233C0F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7382" y="1967899"/>
            <a:ext cx="663117" cy="663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6" name="Picture 12" descr="Image result for ev  icon">
            <a:extLst>
              <a:ext uri="{FF2B5EF4-FFF2-40B4-BE49-F238E27FC236}">
                <a16:creationId xmlns:a16="http://schemas.microsoft.com/office/drawing/2014/main" id="{54793899-6254-4111-A227-3ED35860E4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0821" y="1489379"/>
            <a:ext cx="601980" cy="601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8" name="Picture 14" descr="Image result for electric bus icon">
            <a:extLst>
              <a:ext uri="{FF2B5EF4-FFF2-40B4-BE49-F238E27FC236}">
                <a16:creationId xmlns:a16="http://schemas.microsoft.com/office/drawing/2014/main" id="{EE45B16B-5F00-45BB-9CF8-CFE90E10F2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0998" y="1455385"/>
            <a:ext cx="721987" cy="721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80" name="Picture 16" descr="Image result for electric truck icon">
            <a:extLst>
              <a:ext uri="{FF2B5EF4-FFF2-40B4-BE49-F238E27FC236}">
                <a16:creationId xmlns:a16="http://schemas.microsoft.com/office/drawing/2014/main" id="{F1F533EE-1BC1-4FE5-9D6B-E143429B02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4818" y="1515389"/>
            <a:ext cx="601980" cy="601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96B1C745-F92D-4900-9CA5-5F3254846FDC}"/>
              </a:ext>
            </a:extLst>
          </p:cNvPr>
          <p:cNvGrpSpPr/>
          <p:nvPr/>
        </p:nvGrpSpPr>
        <p:grpSpPr>
          <a:xfrm>
            <a:off x="141573" y="3386355"/>
            <a:ext cx="2210697" cy="1167620"/>
            <a:chOff x="180271" y="3259107"/>
            <a:chExt cx="2210697" cy="1167620"/>
          </a:xfrm>
        </p:grpSpPr>
        <p:pic>
          <p:nvPicPr>
            <p:cNvPr id="15" name="Picture 6" descr="Image result for power transmission line icon">
              <a:extLst>
                <a:ext uri="{FF2B5EF4-FFF2-40B4-BE49-F238E27FC236}">
                  <a16:creationId xmlns:a16="http://schemas.microsoft.com/office/drawing/2014/main" id="{53552B13-DEC7-43E9-BE82-32DB2A1F53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2622" y="3285303"/>
              <a:ext cx="808018" cy="8080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74" name="Picture 10" descr="Stock vector of 'Electricity, power and energy icon set'">
              <a:extLst>
                <a:ext uri="{FF2B5EF4-FFF2-40B4-BE49-F238E27FC236}">
                  <a16:creationId xmlns:a16="http://schemas.microsoft.com/office/drawing/2014/main" id="{02942D03-286E-42FB-9959-0DA4B48E557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69630"/>
            <a:stretch/>
          </p:blipFill>
          <p:spPr bwMode="auto">
            <a:xfrm>
              <a:off x="346711" y="3287346"/>
              <a:ext cx="1062990" cy="5084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A4360359-9561-4DEB-94E9-9385991F4756}"/>
                </a:ext>
              </a:extLst>
            </p:cNvPr>
            <p:cNvSpPr/>
            <p:nvPr/>
          </p:nvSpPr>
          <p:spPr>
            <a:xfrm rot="10800000">
              <a:off x="1327978" y="3422799"/>
              <a:ext cx="1062990" cy="198473"/>
            </a:xfrm>
            <a:prstGeom prst="arc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2705EC5-906A-470D-9804-0508EE8A5457}"/>
                </a:ext>
              </a:extLst>
            </p:cNvPr>
            <p:cNvSpPr/>
            <p:nvPr/>
          </p:nvSpPr>
          <p:spPr>
            <a:xfrm>
              <a:off x="180271" y="3259107"/>
              <a:ext cx="1943100" cy="1167620"/>
            </a:xfrm>
            <a:prstGeom prst="rect">
              <a:avLst/>
            </a:prstGeom>
            <a:solidFill>
              <a:schemeClr val="lt1">
                <a:alpha val="7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90000" bIns="90000" rtlCol="0" anchor="ctr" anchorCtr="0"/>
            <a:lstStyle/>
            <a:p>
              <a:pPr marL="285750" indent="-285750" algn="l">
                <a:spcAft>
                  <a:spcPts val="1000"/>
                </a:spcAft>
                <a:buFont typeface="Wingdings" panose="05000000000000000000" pitchFamily="2" charset="2"/>
                <a:buChar char="§"/>
              </a:pPr>
              <a:endParaRPr lang="en-GB" sz="14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286" name="Picture 22" descr="Image result for battery storage icon">
            <a:extLst>
              <a:ext uri="{FF2B5EF4-FFF2-40B4-BE49-F238E27FC236}">
                <a16:creationId xmlns:a16="http://schemas.microsoft.com/office/drawing/2014/main" id="{8577D62E-D37A-4E43-B132-F8CA0A0D51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62" b="18784"/>
          <a:stretch/>
        </p:blipFill>
        <p:spPr bwMode="auto">
          <a:xfrm>
            <a:off x="669911" y="1032407"/>
            <a:ext cx="848499" cy="534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2" descr="Image result for battery storage icon">
            <a:extLst>
              <a:ext uri="{FF2B5EF4-FFF2-40B4-BE49-F238E27FC236}">
                <a16:creationId xmlns:a16="http://schemas.microsoft.com/office/drawing/2014/main" id="{F24CE1C2-648E-42E6-8F00-EA765EA038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62" b="18784"/>
          <a:stretch/>
        </p:blipFill>
        <p:spPr bwMode="auto">
          <a:xfrm>
            <a:off x="669911" y="1566575"/>
            <a:ext cx="848499" cy="534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ABE42249-63CA-441A-BDBD-9084862B2A8E}"/>
              </a:ext>
            </a:extLst>
          </p:cNvPr>
          <p:cNvSpPr txBox="1"/>
          <p:nvPr/>
        </p:nvSpPr>
        <p:spPr>
          <a:xfrm>
            <a:off x="1699668" y="1072330"/>
            <a:ext cx="122900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400" dirty="0"/>
              <a:t>2MW </a:t>
            </a:r>
            <a:r>
              <a:rPr lang="en-GB" sz="1400" dirty="0" err="1"/>
              <a:t>Invinity</a:t>
            </a:r>
            <a:r>
              <a:rPr lang="en-GB" sz="1400" dirty="0"/>
              <a:t> flow battery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0FEC7B8-E639-4B8C-9549-0C1BE3A95829}"/>
              </a:ext>
            </a:extLst>
          </p:cNvPr>
          <p:cNvSpPr txBox="1"/>
          <p:nvPr/>
        </p:nvSpPr>
        <p:spPr>
          <a:xfrm>
            <a:off x="1699667" y="1618214"/>
            <a:ext cx="130520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400" dirty="0"/>
              <a:t>50MW Lithium ion battery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2508423-9DE7-4674-96E0-20517AADE076}"/>
              </a:ext>
            </a:extLst>
          </p:cNvPr>
          <p:cNvGrpSpPr/>
          <p:nvPr/>
        </p:nvGrpSpPr>
        <p:grpSpPr>
          <a:xfrm>
            <a:off x="6770249" y="1270353"/>
            <a:ext cx="855741" cy="809744"/>
            <a:chOff x="6348662" y="3522825"/>
            <a:chExt cx="1027047" cy="1027047"/>
          </a:xfrm>
        </p:grpSpPr>
        <p:pic>
          <p:nvPicPr>
            <p:cNvPr id="47" name="Picture 30" descr="Image result for heat pump icon">
              <a:extLst>
                <a:ext uri="{FF2B5EF4-FFF2-40B4-BE49-F238E27FC236}">
                  <a16:creationId xmlns:a16="http://schemas.microsoft.com/office/drawing/2014/main" id="{384FAD94-7A0C-472A-9051-47C9D554C6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48662" y="3522825"/>
              <a:ext cx="1027047" cy="1027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7F224F51-1052-4A1A-A573-4174F13AB4A1}"/>
                </a:ext>
              </a:extLst>
            </p:cNvPr>
            <p:cNvSpPr/>
            <p:nvPr/>
          </p:nvSpPr>
          <p:spPr>
            <a:xfrm>
              <a:off x="6428292" y="3925160"/>
              <a:ext cx="230352" cy="1111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90000" bIns="90000" rtlCol="0" anchor="ctr" anchorCtr="0"/>
            <a:lstStyle/>
            <a:p>
              <a:pPr marL="285750" indent="-285750" algn="l">
                <a:spcAft>
                  <a:spcPts val="1000"/>
                </a:spcAft>
                <a:buFont typeface="Wingdings" panose="05000000000000000000" pitchFamily="2" charset="2"/>
                <a:buChar char="§"/>
              </a:pPr>
              <a:endParaRPr lang="en-GB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7" name="Arrow: Up-Down 26">
            <a:extLst>
              <a:ext uri="{FF2B5EF4-FFF2-40B4-BE49-F238E27FC236}">
                <a16:creationId xmlns:a16="http://schemas.microsoft.com/office/drawing/2014/main" id="{8F404181-9AF8-496E-89D4-D49CF94FAE33}"/>
              </a:ext>
            </a:extLst>
          </p:cNvPr>
          <p:cNvSpPr/>
          <p:nvPr/>
        </p:nvSpPr>
        <p:spPr>
          <a:xfrm>
            <a:off x="1735185" y="2179822"/>
            <a:ext cx="166440" cy="314257"/>
          </a:xfrm>
          <a:prstGeom prst="upDownArrow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marL="285750" indent="-285750" algn="l">
              <a:spcAft>
                <a:spcPts val="1000"/>
              </a:spcAft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54" name="Arrow: Up-Down 53">
            <a:extLst>
              <a:ext uri="{FF2B5EF4-FFF2-40B4-BE49-F238E27FC236}">
                <a16:creationId xmlns:a16="http://schemas.microsoft.com/office/drawing/2014/main" id="{B6BFEEE5-1F42-497B-9A53-07723B911DE9}"/>
              </a:ext>
            </a:extLst>
          </p:cNvPr>
          <p:cNvSpPr/>
          <p:nvPr/>
        </p:nvSpPr>
        <p:spPr>
          <a:xfrm>
            <a:off x="4405560" y="2164142"/>
            <a:ext cx="166440" cy="314257"/>
          </a:xfrm>
          <a:prstGeom prst="upDownArrow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marL="285750" indent="-285750" algn="l">
              <a:spcAft>
                <a:spcPts val="1000"/>
              </a:spcAft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56" name="Arrow: Up-Down 55">
            <a:extLst>
              <a:ext uri="{FF2B5EF4-FFF2-40B4-BE49-F238E27FC236}">
                <a16:creationId xmlns:a16="http://schemas.microsoft.com/office/drawing/2014/main" id="{D6DF0F7E-840E-4E84-96C1-A95B4E1E24CF}"/>
              </a:ext>
            </a:extLst>
          </p:cNvPr>
          <p:cNvSpPr/>
          <p:nvPr/>
        </p:nvSpPr>
        <p:spPr>
          <a:xfrm>
            <a:off x="4402588" y="2898997"/>
            <a:ext cx="166440" cy="314257"/>
          </a:xfrm>
          <a:prstGeom prst="upDownArrow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marL="285750" indent="-285750" algn="l">
              <a:spcAft>
                <a:spcPts val="1000"/>
              </a:spcAft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pic>
        <p:nvPicPr>
          <p:cNvPr id="11298" name="Picture 34" descr="Image result for transmission substation  icon">
            <a:extLst>
              <a:ext uri="{FF2B5EF4-FFF2-40B4-BE49-F238E27FC236}">
                <a16:creationId xmlns:a16="http://schemas.microsoft.com/office/drawing/2014/main" id="{9D5362D2-EFE6-4356-B444-99D6C8DC4B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3068" y="3501054"/>
            <a:ext cx="697418" cy="697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Arc 13">
            <a:extLst>
              <a:ext uri="{FF2B5EF4-FFF2-40B4-BE49-F238E27FC236}">
                <a16:creationId xmlns:a16="http://schemas.microsoft.com/office/drawing/2014/main" id="{665B71CA-0499-4A4E-98C6-E1229F56A026}"/>
              </a:ext>
            </a:extLst>
          </p:cNvPr>
          <p:cNvSpPr/>
          <p:nvPr/>
        </p:nvSpPr>
        <p:spPr>
          <a:xfrm rot="10005724">
            <a:off x="2141990" y="3440803"/>
            <a:ext cx="587507" cy="320477"/>
          </a:xfrm>
          <a:prstGeom prst="arc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1916461-302F-4277-B9B5-351D286A1C07}"/>
              </a:ext>
            </a:extLst>
          </p:cNvPr>
          <p:cNvSpPr/>
          <p:nvPr/>
        </p:nvSpPr>
        <p:spPr>
          <a:xfrm>
            <a:off x="3956781" y="3366588"/>
            <a:ext cx="185993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en-GB" sz="1400" b="1" dirty="0"/>
              <a:t>Direct transmission connection </a:t>
            </a:r>
            <a:r>
              <a:rPr lang="en-GB" sz="1400" dirty="0"/>
              <a:t>at </a:t>
            </a:r>
            <a:r>
              <a:rPr lang="en-GB" sz="1400" dirty="0" err="1"/>
              <a:t>Cowley</a:t>
            </a:r>
            <a:r>
              <a:rPr lang="en-GB" sz="1400" dirty="0"/>
              <a:t> substation, South Oxford</a:t>
            </a:r>
          </a:p>
        </p:txBody>
      </p:sp>
      <p:sp>
        <p:nvSpPr>
          <p:cNvPr id="63" name="Arc 62">
            <a:extLst>
              <a:ext uri="{FF2B5EF4-FFF2-40B4-BE49-F238E27FC236}">
                <a16:creationId xmlns:a16="http://schemas.microsoft.com/office/drawing/2014/main" id="{AF69A121-B793-418B-A1C1-1D67D4CEDB30}"/>
              </a:ext>
            </a:extLst>
          </p:cNvPr>
          <p:cNvSpPr/>
          <p:nvPr/>
        </p:nvSpPr>
        <p:spPr>
          <a:xfrm rot="10005724">
            <a:off x="2934875" y="3546840"/>
            <a:ext cx="587507" cy="320477"/>
          </a:xfrm>
          <a:prstGeom prst="arc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300" name="Picture 36" descr="Image result for machine learning  icon">
            <a:extLst>
              <a:ext uri="{FF2B5EF4-FFF2-40B4-BE49-F238E27FC236}">
                <a16:creationId xmlns:a16="http://schemas.microsoft.com/office/drawing/2014/main" id="{DC849D41-1048-4B60-8AEF-8CC9C1E053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92" y="2554396"/>
            <a:ext cx="245510" cy="245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Arrow: Up-Down 65">
            <a:extLst>
              <a:ext uri="{FF2B5EF4-FFF2-40B4-BE49-F238E27FC236}">
                <a16:creationId xmlns:a16="http://schemas.microsoft.com/office/drawing/2014/main" id="{944DC037-6192-4161-AA9D-593A27C26502}"/>
              </a:ext>
            </a:extLst>
          </p:cNvPr>
          <p:cNvSpPr/>
          <p:nvPr/>
        </p:nvSpPr>
        <p:spPr>
          <a:xfrm>
            <a:off x="7132236" y="2153774"/>
            <a:ext cx="166440" cy="314257"/>
          </a:xfrm>
          <a:prstGeom prst="upDownArrow">
            <a:avLst/>
          </a:prstGeom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marL="285750" indent="-285750" algn="l">
              <a:spcAft>
                <a:spcPts val="1000"/>
              </a:spcAft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6FF7450D-513F-4E4C-8BE4-11B9DDE8CD65}"/>
              </a:ext>
            </a:extLst>
          </p:cNvPr>
          <p:cNvSpPr/>
          <p:nvPr/>
        </p:nvSpPr>
        <p:spPr>
          <a:xfrm>
            <a:off x="556260" y="751437"/>
            <a:ext cx="2448614" cy="1365932"/>
          </a:xfrm>
          <a:prstGeom prst="roundRect">
            <a:avLst>
              <a:gd name="adj" fmla="val 5271"/>
            </a:avLst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marL="285750" indent="-285750" algn="l">
              <a:spcAft>
                <a:spcPts val="1000"/>
              </a:spcAft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149C4F55-FB1D-45F5-B6FE-9A1825FB32DA}"/>
              </a:ext>
            </a:extLst>
          </p:cNvPr>
          <p:cNvSpPr/>
          <p:nvPr/>
        </p:nvSpPr>
        <p:spPr>
          <a:xfrm>
            <a:off x="3283068" y="751437"/>
            <a:ext cx="2448614" cy="1365932"/>
          </a:xfrm>
          <a:prstGeom prst="roundRect">
            <a:avLst>
              <a:gd name="adj" fmla="val 5271"/>
            </a:avLst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marL="285750" indent="-285750" algn="l">
              <a:spcAft>
                <a:spcPts val="1000"/>
              </a:spcAft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7E7D9CD3-4307-4437-AA18-C1F2A6CF8524}"/>
              </a:ext>
            </a:extLst>
          </p:cNvPr>
          <p:cNvSpPr/>
          <p:nvPr/>
        </p:nvSpPr>
        <p:spPr>
          <a:xfrm>
            <a:off x="5973811" y="751437"/>
            <a:ext cx="2448614" cy="1365932"/>
          </a:xfrm>
          <a:prstGeom prst="roundRect">
            <a:avLst>
              <a:gd name="adj" fmla="val 5271"/>
            </a:avLst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marL="285750" indent="-285750" algn="l">
              <a:spcAft>
                <a:spcPts val="1000"/>
              </a:spcAft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CBFF868F-98B4-417F-A56E-D6253A114733}"/>
              </a:ext>
            </a:extLst>
          </p:cNvPr>
          <p:cNvSpPr/>
          <p:nvPr/>
        </p:nvSpPr>
        <p:spPr>
          <a:xfrm>
            <a:off x="3283068" y="3298050"/>
            <a:ext cx="2448614" cy="1102388"/>
          </a:xfrm>
          <a:prstGeom prst="roundRect">
            <a:avLst>
              <a:gd name="adj" fmla="val 5271"/>
            </a:avLst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marL="285750" indent="-285750" algn="l">
              <a:spcAft>
                <a:spcPts val="1000"/>
              </a:spcAft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7D4E4BBA-AF9B-48D1-B9AF-BA58ADA89848}"/>
              </a:ext>
            </a:extLst>
          </p:cNvPr>
          <p:cNvSpPr/>
          <p:nvPr/>
        </p:nvSpPr>
        <p:spPr>
          <a:xfrm>
            <a:off x="552206" y="2522181"/>
            <a:ext cx="7886944" cy="314257"/>
          </a:xfrm>
          <a:prstGeom prst="roundRect">
            <a:avLst>
              <a:gd name="adj" fmla="val 22679"/>
            </a:avLst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marL="285750" indent="-285750" algn="l">
              <a:spcAft>
                <a:spcPts val="1000"/>
              </a:spcAft>
              <a:buFont typeface="Wingdings" panose="05000000000000000000" pitchFamily="2" charset="2"/>
              <a:buChar char="§"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18061BD-B1E7-4450-A21B-8EC48BE4960A}"/>
              </a:ext>
            </a:extLst>
          </p:cNvPr>
          <p:cNvSpPr txBox="1"/>
          <p:nvPr/>
        </p:nvSpPr>
        <p:spPr>
          <a:xfrm>
            <a:off x="2224328" y="2574886"/>
            <a:ext cx="446209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400" b="1" dirty="0"/>
              <a:t>Optimisation and trading, </a:t>
            </a:r>
            <a:r>
              <a:rPr lang="en-GB" sz="1400" dirty="0"/>
              <a:t>machine learning-based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BAAA955-4C5C-4EDB-BB10-4EBDD6934BB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66405" y="3298050"/>
            <a:ext cx="1721126" cy="1016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8053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EC75299-F035-44FB-8706-94A131301A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2111" y="3671057"/>
            <a:ext cx="3086367" cy="495343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53EF8A-3912-4A56-A48D-6165D52BADA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1B77AABF-E942-AC4D-8982-D057F9FE18A5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0640F2E-CCAB-40C9-AA69-7FB7244C77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750146"/>
            <a:ext cx="4080134" cy="4240264"/>
          </a:xfrm>
          <a:prstGeom prst="rect">
            <a:avLst/>
          </a:prstGeom>
        </p:spPr>
      </p:pic>
      <p:sp>
        <p:nvSpPr>
          <p:cNvPr id="7" name="Title 5">
            <a:extLst>
              <a:ext uri="{FF2B5EF4-FFF2-40B4-BE49-F238E27FC236}">
                <a16:creationId xmlns:a16="http://schemas.microsoft.com/office/drawing/2014/main" id="{E28F78F7-25FE-43CF-9851-2332F33F4CFD}"/>
              </a:ext>
            </a:extLst>
          </p:cNvPr>
          <p:cNvSpPr txBox="1">
            <a:spLocks/>
          </p:cNvSpPr>
          <p:nvPr/>
        </p:nvSpPr>
        <p:spPr>
          <a:xfrm>
            <a:off x="179512" y="0"/>
            <a:ext cx="6480720" cy="771550"/>
          </a:xfr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0">
                <a:solidFill>
                  <a:schemeClr val="tx1"/>
                </a:solidFill>
                <a:latin typeface="+mj-lt"/>
                <a:ea typeface="MS PGothic" panose="020B0600070205080204" pitchFamily="34" charset="-128"/>
                <a:cs typeface="ＭＳ Ｐゴシック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MS PGothic" panose="020B0600070205080204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MS PGothic" panose="020B0600070205080204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MS PGothic" panose="020B0600070205080204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MS PGothic" panose="020B0600070205080204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Verdana" pitchFamily="-1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Verdana" pitchFamily="-1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Verdana" pitchFamily="-1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Verdana" pitchFamily="-1" charset="0"/>
              </a:defRPr>
            </a:lvl9pPr>
          </a:lstStyle>
          <a:p>
            <a:pPr defTabSz="914400"/>
            <a:r>
              <a:rPr lang="en-GB" kern="0" dirty="0"/>
              <a:t>Around Oxford:  Complementary approach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002A435-09D8-4785-AA3A-E9BD13F241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5722" y="3526967"/>
            <a:ext cx="1171460" cy="5588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D7FA2F1-79C6-4466-B49E-9C23360DD9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04946" y="4025757"/>
            <a:ext cx="4293532" cy="94651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6DEBF8A-41CE-4394-B1D1-FAE232232545}"/>
              </a:ext>
            </a:extLst>
          </p:cNvPr>
          <p:cNvSpPr txBox="1"/>
          <p:nvPr/>
        </p:nvSpPr>
        <p:spPr>
          <a:xfrm>
            <a:off x="4571999" y="963386"/>
            <a:ext cx="42935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Data-rich, intelligent local grid, acting as neutral market enabler….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C212E8B-31DA-4259-86A7-6556B6DFAD3A}"/>
              </a:ext>
            </a:extLst>
          </p:cNvPr>
          <p:cNvSpPr txBox="1"/>
          <p:nvPr/>
        </p:nvSpPr>
        <p:spPr>
          <a:xfrm>
            <a:off x="4571999" y="1772664"/>
            <a:ext cx="429353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…of competitive market services that people want and that maximise use of local net zero resources…</a:t>
            </a:r>
          </a:p>
          <a:p>
            <a:endParaRPr lang="en-GB" sz="2000" dirty="0"/>
          </a:p>
          <a:p>
            <a:r>
              <a:rPr lang="en-GB" sz="2000" dirty="0"/>
              <a:t>…in an agile, learn-as-you-go way.</a:t>
            </a:r>
          </a:p>
        </p:txBody>
      </p:sp>
    </p:spTree>
    <p:extLst>
      <p:ext uri="{BB962C8B-B14F-4D97-AF65-F5344CB8AC3E}">
        <p14:creationId xmlns:p14="http://schemas.microsoft.com/office/powerpoint/2010/main" val="3463734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1B77AABF-E942-AC4D-8982-D057F9FE18A5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842" y="2042446"/>
            <a:ext cx="8245907" cy="245454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9872" y="579132"/>
            <a:ext cx="2190750" cy="142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8542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7_EU WARM GRAY Powerpoint Template">
  <a:themeElements>
    <a:clrScheme name="MRC">
      <a:dk1>
        <a:sysClr val="windowText" lastClr="000000"/>
      </a:dk1>
      <a:lt1>
        <a:sysClr val="window" lastClr="FFFFFF"/>
      </a:lt1>
      <a:dk2>
        <a:srgbClr val="21677E"/>
      </a:dk2>
      <a:lt2>
        <a:srgbClr val="EEECE1"/>
      </a:lt2>
      <a:accent1>
        <a:srgbClr val="8A7967"/>
      </a:accent1>
      <a:accent2>
        <a:srgbClr val="21677E"/>
      </a:accent2>
      <a:accent3>
        <a:srgbClr val="6A3B77"/>
      </a:accent3>
      <a:accent4>
        <a:srgbClr val="822F5A"/>
      </a:accent4>
      <a:accent5>
        <a:srgbClr val="D07232"/>
      </a:accent5>
      <a:accent6>
        <a:srgbClr val="B5D334"/>
      </a:accent6>
      <a:hlink>
        <a:srgbClr val="21677E"/>
      </a:hlink>
      <a:folHlink>
        <a:srgbClr val="6A3B7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508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" pitchFamily="-1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508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" pitchFamily="-1" charset="0"/>
          </a:defRPr>
        </a:defPPr>
      </a:lstStyle>
    </a:lnDef>
  </a:objectDefaults>
  <a:extraClrSchemeLst>
    <a:extraClrScheme>
      <a:clrScheme name="Powerpoint_template_CT_WG10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_template_CT_WG10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_template_CT_WG10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_template_CT_WG10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_template_CT_WG10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_template_CT_WG10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_template_CT_WG10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441CAAD1DD6F49B20D49FF257A36FC" ma:contentTypeVersion="12" ma:contentTypeDescription="Create a new document." ma:contentTypeScope="" ma:versionID="9a7daaac6fb6937cadb19969107d5234">
  <xsd:schema xmlns:xsd="http://www.w3.org/2001/XMLSchema" xmlns:xs="http://www.w3.org/2001/XMLSchema" xmlns:p="http://schemas.microsoft.com/office/2006/metadata/properties" xmlns:ns3="ac4b7d0c-1d45-44dd-b366-1d872c751841" xmlns:ns4="bb630573-aaf1-4601-a5d3-3c415fdab251" targetNamespace="http://schemas.microsoft.com/office/2006/metadata/properties" ma:root="true" ma:fieldsID="ed5cce66ed87bf72f96cc27ef83a31e9" ns3:_="" ns4:_="">
    <xsd:import namespace="ac4b7d0c-1d45-44dd-b366-1d872c751841"/>
    <xsd:import namespace="bb630573-aaf1-4601-a5d3-3c415fdab251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EventHashCode" minOccurs="0"/>
                <xsd:element ref="ns4:MediaServiceGenerationTime" minOccurs="0"/>
                <xsd:element ref="ns4:MediaServiceOCR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4b7d0c-1d45-44dd-b366-1d872c75184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630573-aaf1-4601-a5d3-3c415fdab2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46F493C-2450-44EC-AD16-ACF0E818904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c4b7d0c-1d45-44dd-b366-1d872c751841"/>
    <ds:schemaRef ds:uri="bb630573-aaf1-4601-a5d3-3c415fdab25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C4D873E-6C64-4229-9867-3569C0126A7A}">
  <ds:schemaRefs>
    <ds:schemaRef ds:uri="http://purl.org/dc/dcmitype/"/>
    <ds:schemaRef ds:uri="http://schemas.microsoft.com/office/infopath/2007/PartnerControls"/>
    <ds:schemaRef ds:uri="ac4b7d0c-1d45-44dd-b366-1d872c751841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bb630573-aaf1-4601-a5d3-3c415fdab251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406C83E-B922-443D-8025-62153EA10BC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8.3215.181_Brandassets_IUK_Corporate slide deck_template_widescreen 16:9 ratio</Template>
  <TotalTime>23670</TotalTime>
  <Words>504</Words>
  <Application>Microsoft Office PowerPoint</Application>
  <PresentationFormat>On-screen Show (16:9)</PresentationFormat>
  <Paragraphs>75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Avenir Next Demi Bold</vt:lpstr>
      <vt:lpstr>Calibri</vt:lpstr>
      <vt:lpstr>Stencil</vt:lpstr>
      <vt:lpstr>Times</vt:lpstr>
      <vt:lpstr>Verdana</vt:lpstr>
      <vt:lpstr>Wingdings</vt:lpstr>
      <vt:lpstr>7_EU WARM GRAY Powerpoint Template</vt:lpstr>
      <vt:lpstr>think-cell Slide</vt:lpstr>
      <vt:lpstr>Prospering from the Energy Revolution: Building local foundations for Net Zero. </vt:lpstr>
      <vt:lpstr>PowerPoint Presentation</vt:lpstr>
      <vt:lpstr>PowerPoint Presentation</vt:lpstr>
      <vt:lpstr>Prospering from the Energy Revolution</vt:lpstr>
      <vt:lpstr>A portfolio of groundbreaking local projects</vt:lpstr>
      <vt:lpstr>Demonstrating…</vt:lpstr>
      <vt:lpstr>Around Oxford:  Complementary approaches</vt:lpstr>
      <vt:lpstr>PowerPoint Presentation</vt:lpstr>
      <vt:lpstr>PowerPoint Presentation</vt:lpstr>
      <vt:lpstr>PowerPoint Presentation</vt:lpstr>
      <vt:lpstr>PowerPoint Presentation</vt:lpstr>
      <vt:lpstr>Thankyou  @RobS_energy rob.saunders@innovateuk.ukri.org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Option 1</dc:title>
  <dc:subject/>
  <dc:creator>Microsoft Office User</dc:creator>
  <cp:keywords/>
  <dc:description/>
  <cp:lastModifiedBy>Rob Saunders - UKRI INNOVATEUK</cp:lastModifiedBy>
  <cp:revision>713</cp:revision>
  <cp:lastPrinted>2018-10-25T16:25:58Z</cp:lastPrinted>
  <dcterms:created xsi:type="dcterms:W3CDTF">2018-05-02T08:26:51Z</dcterms:created>
  <dcterms:modified xsi:type="dcterms:W3CDTF">2020-11-02T12:56:1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8441CAAD1DD6F49B20D49FF257A36FC</vt:lpwstr>
  </property>
  <property fmtid="{D5CDD505-2E9C-101B-9397-08002B2CF9AE}" pid="3" name="AuthorIds_UIVersion_7168">
    <vt:lpwstr>254</vt:lpwstr>
  </property>
</Properties>
</file>